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16762721" r:id="rId3"/>
    <p:sldId id="16672886" r:id="rId5"/>
    <p:sldId id="16672887" r:id="rId6"/>
    <p:sldId id="358" r:id="rId7"/>
    <p:sldId id="16762722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590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3" d="100"/>
          <a:sy n="73" d="100"/>
        </p:scale>
        <p:origin x="380" y="3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presProps" Target="presProps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4" Type="http://schemas.openxmlformats.org/officeDocument/2006/relationships/customXml" Target="../customXml/item3.xml"/><Relationship Id="rId13" Type="http://schemas.openxmlformats.org/officeDocument/2006/relationships/customXml" Target="../customXml/item2.xml"/><Relationship Id="rId12" Type="http://schemas.openxmlformats.org/officeDocument/2006/relationships/customXml" Target="../customXml/item1.xml"/><Relationship Id="rId11" Type="http://schemas.openxmlformats.org/officeDocument/2006/relationships/tableStyles" Target="tableStyles.xml"/><Relationship Id="rId10" Type="http://schemas.openxmlformats.org/officeDocument/2006/relationships/viewProps" Target="viewProps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0DB5A9-969F-431D-A325-3286971C37AE}" type="datetimeFigureOut">
              <a:rPr lang="ru-RU" smtClean="0"/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D215A5-AFED-4820-A255-3068B22B6732}" type="slidenum">
              <a:rPr lang="ru-RU" smtClean="0"/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DB125F-D24F-47AE-85FE-C3EFFAB88DFD}" type="slidenum">
              <a:rPr lang="en-GB" smtClean="0"/>
            </a:fld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tags" Target="../tags/tag2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0.vml"/><Relationship Id="rId5" Type="http://schemas.openxmlformats.org/officeDocument/2006/relationships/tags" Target="../tags/tag20.xml"/><Relationship Id="rId4" Type="http://schemas.openxmlformats.org/officeDocument/2006/relationships/image" Target="../media/image3.emf"/><Relationship Id="rId3" Type="http://schemas.openxmlformats.org/officeDocument/2006/relationships/oleObject" Target="../embeddings/oleObject10.bin"/><Relationship Id="rId2" Type="http://schemas.openxmlformats.org/officeDocument/2006/relationships/tags" Target="../tags/tag19.xml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tags" Target="../tags/tag22.xml"/><Relationship Id="rId4" Type="http://schemas.openxmlformats.org/officeDocument/2006/relationships/image" Target="../media/image3.emf"/><Relationship Id="rId3" Type="http://schemas.openxmlformats.org/officeDocument/2006/relationships/oleObject" Target="../embeddings/oleObject11.bin"/><Relationship Id="rId2" Type="http://schemas.openxmlformats.org/officeDocument/2006/relationships/tags" Target="../tags/tag21.xml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tags" Target="../tags/tag24.xml"/><Relationship Id="rId4" Type="http://schemas.openxmlformats.org/officeDocument/2006/relationships/image" Target="../media/image3.emf"/><Relationship Id="rId3" Type="http://schemas.openxmlformats.org/officeDocument/2006/relationships/oleObject" Target="../embeddings/oleObject12.bin"/><Relationship Id="rId2" Type="http://schemas.openxmlformats.org/officeDocument/2006/relationships/tags" Target="../tags/tag23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tags" Target="../tags/tag26.xml"/><Relationship Id="rId4" Type="http://schemas.openxmlformats.org/officeDocument/2006/relationships/image" Target="../media/image3.emf"/><Relationship Id="rId3" Type="http://schemas.openxmlformats.org/officeDocument/2006/relationships/oleObject" Target="../embeddings/oleObject13.bin"/><Relationship Id="rId2" Type="http://schemas.openxmlformats.org/officeDocument/2006/relationships/tags" Target="../tags/tag25.xml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tags" Target="../tags/tag28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4.bin"/><Relationship Id="rId2" Type="http://schemas.openxmlformats.org/officeDocument/2006/relationships/tags" Target="../tags/tag27.xml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5.vml"/><Relationship Id="rId7" Type="http://schemas.openxmlformats.org/officeDocument/2006/relationships/image" Target="../media/image4.emf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image" Target="../media/image3.emf"/><Relationship Id="rId3" Type="http://schemas.openxmlformats.org/officeDocument/2006/relationships/oleObject" Target="../embeddings/oleObject15.bin"/><Relationship Id="rId2" Type="http://schemas.openxmlformats.org/officeDocument/2006/relationships/tags" Target="../tags/tag29.xml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6.vml"/><Relationship Id="rId7" Type="http://schemas.openxmlformats.org/officeDocument/2006/relationships/image" Target="../media/image5.emf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6.bin"/><Relationship Id="rId2" Type="http://schemas.openxmlformats.org/officeDocument/2006/relationships/tags" Target="../tags/tag32.xml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tags" Target="../tags/tag36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7.bin"/><Relationship Id="rId2" Type="http://schemas.openxmlformats.org/officeDocument/2006/relationships/tags" Target="../tags/tag35.xml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8.vml"/><Relationship Id="rId5" Type="http://schemas.openxmlformats.org/officeDocument/2006/relationships/tags" Target="../tags/tag38.xml"/><Relationship Id="rId4" Type="http://schemas.openxmlformats.org/officeDocument/2006/relationships/image" Target="../media/image3.emf"/><Relationship Id="rId3" Type="http://schemas.openxmlformats.org/officeDocument/2006/relationships/oleObject" Target="../embeddings/oleObject18.bin"/><Relationship Id="rId2" Type="http://schemas.openxmlformats.org/officeDocument/2006/relationships/tags" Target="../tags/tag37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.vml"/><Relationship Id="rId5" Type="http://schemas.openxmlformats.org/officeDocument/2006/relationships/tags" Target="../tags/tag4.xml"/><Relationship Id="rId4" Type="http://schemas.openxmlformats.org/officeDocument/2006/relationships/image" Target="../media/image3.emf"/><Relationship Id="rId3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9.vml"/><Relationship Id="rId4" Type="http://schemas.openxmlformats.org/officeDocument/2006/relationships/image" Target="../media/image6.emf"/><Relationship Id="rId3" Type="http://schemas.openxmlformats.org/officeDocument/2006/relationships/oleObject" Target="../embeddings/oleObject19.bin"/><Relationship Id="rId2" Type="http://schemas.openxmlformats.org/officeDocument/2006/relationships/tags" Target="../tags/tag39.xml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0.vml"/><Relationship Id="rId5" Type="http://schemas.openxmlformats.org/officeDocument/2006/relationships/image" Target="../media/image7.jpeg"/><Relationship Id="rId4" Type="http://schemas.openxmlformats.org/officeDocument/2006/relationships/image" Target="../media/image6.emf"/><Relationship Id="rId3" Type="http://schemas.openxmlformats.org/officeDocument/2006/relationships/oleObject" Target="../embeddings/oleObject20.bin"/><Relationship Id="rId2" Type="http://schemas.openxmlformats.org/officeDocument/2006/relationships/tags" Target="../tags/tag40.xm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3.vml"/><Relationship Id="rId5" Type="http://schemas.openxmlformats.org/officeDocument/2006/relationships/tags" Target="../tags/tag6.xml"/><Relationship Id="rId4" Type="http://schemas.openxmlformats.org/officeDocument/2006/relationships/image" Target="../media/image3.emf"/><Relationship Id="rId3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4.vml"/><Relationship Id="rId5" Type="http://schemas.openxmlformats.org/officeDocument/2006/relationships/tags" Target="../tags/tag8.xml"/><Relationship Id="rId4" Type="http://schemas.openxmlformats.org/officeDocument/2006/relationships/image" Target="../media/image3.emf"/><Relationship Id="rId3" Type="http://schemas.openxmlformats.org/officeDocument/2006/relationships/oleObject" Target="../embeddings/oleObject4.bin"/><Relationship Id="rId2" Type="http://schemas.openxmlformats.org/officeDocument/2006/relationships/tags" Target="../tags/tag7.x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5.vml"/><Relationship Id="rId5" Type="http://schemas.openxmlformats.org/officeDocument/2006/relationships/tags" Target="../tags/tag10.xml"/><Relationship Id="rId4" Type="http://schemas.openxmlformats.org/officeDocument/2006/relationships/image" Target="../media/image3.emf"/><Relationship Id="rId3" Type="http://schemas.openxmlformats.org/officeDocument/2006/relationships/oleObject" Target="../embeddings/oleObject5.bin"/><Relationship Id="rId2" Type="http://schemas.openxmlformats.org/officeDocument/2006/relationships/tags" Target="../tags/tag9.xml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6.vml"/><Relationship Id="rId5" Type="http://schemas.openxmlformats.org/officeDocument/2006/relationships/tags" Target="../tags/tag12.xml"/><Relationship Id="rId4" Type="http://schemas.openxmlformats.org/officeDocument/2006/relationships/image" Target="../media/image3.emf"/><Relationship Id="rId3" Type="http://schemas.openxmlformats.org/officeDocument/2006/relationships/oleObject" Target="../embeddings/oleObject6.bin"/><Relationship Id="rId2" Type="http://schemas.openxmlformats.org/officeDocument/2006/relationships/tags" Target="../tags/tag11.xm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7.vml"/><Relationship Id="rId5" Type="http://schemas.openxmlformats.org/officeDocument/2006/relationships/tags" Target="../tags/tag14.xml"/><Relationship Id="rId4" Type="http://schemas.openxmlformats.org/officeDocument/2006/relationships/image" Target="../media/image3.emf"/><Relationship Id="rId3" Type="http://schemas.openxmlformats.org/officeDocument/2006/relationships/oleObject" Target="../embeddings/oleObject7.bin"/><Relationship Id="rId2" Type="http://schemas.openxmlformats.org/officeDocument/2006/relationships/tags" Target="../tags/tag13.xm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8.vml"/><Relationship Id="rId5" Type="http://schemas.openxmlformats.org/officeDocument/2006/relationships/tags" Target="../tags/tag16.xml"/><Relationship Id="rId4" Type="http://schemas.openxmlformats.org/officeDocument/2006/relationships/image" Target="../media/image3.emf"/><Relationship Id="rId3" Type="http://schemas.openxmlformats.org/officeDocument/2006/relationships/oleObject" Target="../embeddings/oleObject8.bin"/><Relationship Id="rId2" Type="http://schemas.openxmlformats.org/officeDocument/2006/relationships/tags" Target="../tags/tag15.xm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9.vml"/><Relationship Id="rId5" Type="http://schemas.openxmlformats.org/officeDocument/2006/relationships/tags" Target="../tags/tag18.xml"/><Relationship Id="rId4" Type="http://schemas.openxmlformats.org/officeDocument/2006/relationships/image" Target="../media/image3.emf"/><Relationship Id="rId3" Type="http://schemas.openxmlformats.org/officeDocument/2006/relationships/oleObject" Target="../embeddings/oleObject9.bin"/><Relationship Id="rId2" Type="http://schemas.openxmlformats.org/officeDocument/2006/relationships/tags" Target="../tags/tag17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Titelfoli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Folie" r:id="rId3" imgW="8890" imgH="8890" progId="TCLayout.ActiveDocument.1">
                  <p:embed/>
                </p:oleObj>
              </mc:Choice>
              <mc:Fallback>
                <p:oleObj name="think-cell Folie" r:id="rId3" imgW="8890" imgH="889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50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914526"/>
            <a:ext cx="11175732" cy="1384995"/>
          </a:xfrm>
        </p:spPr>
        <p:txBody>
          <a:bodyPr anchor="t">
            <a:spAutoFit/>
          </a:bodyPr>
          <a:lstStyle>
            <a:lvl1pPr algn="l">
              <a:lnSpc>
                <a:spcPct val="90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944038"/>
            <a:ext cx="7561262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GB"/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Bild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right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Folie" r:id="rId3" imgW="10160" imgH="10160" progId="TCLayout.ActiveDocument.1">
                  <p:embed/>
                </p:oleObj>
              </mc:Choice>
              <mc:Fallback>
                <p:oleObj name="think-cell Foli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gray">
          <a:xfrm>
            <a:off x="0" y="1666876"/>
            <a:ext cx="3193256" cy="149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/>
        </p:nvSpPr>
        <p:spPr>
          <a:xfrm>
            <a:off x="0" y="0"/>
            <a:ext cx="30096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3257" y="944655"/>
            <a:ext cx="8482806" cy="677491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93257" y="1874838"/>
            <a:ext cx="8482806" cy="450691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GB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Title Slid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Folie" r:id="rId3" imgW="10160" imgH="10160" progId="TCLayout.ActiveDocument.1">
                  <p:embed/>
                </p:oleObj>
              </mc:Choice>
              <mc:Fallback>
                <p:oleObj name="think-cell Folie" r:id="rId3" imgW="10160" imgH="10160" progId="TCLayout.ActiveDocument.1">
                  <p:embed/>
                  <p:pic>
                    <p:nvPicPr>
                      <p:cNvPr id="0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50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0"/>
            <a:ext cx="12192000" cy="1736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US" sz="160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914526"/>
            <a:ext cx="11160125" cy="1384995"/>
          </a:xfrm>
        </p:spPr>
        <p:txBody>
          <a:bodyPr anchor="t">
            <a:spAutoFit/>
          </a:bodyPr>
          <a:lstStyle>
            <a:lvl1pPr algn="l">
              <a:lnSpc>
                <a:spcPct val="90000"/>
              </a:lnSpc>
              <a:defRPr sz="5000" cap="all" baseline="0">
                <a:solidFill>
                  <a:schemeClr val="accent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944438"/>
            <a:ext cx="7596188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GB"/>
          </a:p>
        </p:txBody>
      </p:sp>
      <p:pic>
        <p:nvPicPr>
          <p:cNvPr id="8" name="Bild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>
  <p:cSld name="Title Slide (p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Folie" r:id="rId3" imgW="10160" imgH="10160" progId="TCLayout.ActiveDocument.1">
                  <p:embed/>
                </p:oleObj>
              </mc:Choice>
              <mc:Fallback>
                <p:oleObj name="think-cell Folie" r:id="rId3" imgW="10160" imgH="10160" progId="TCLayout.ActiveDocument.1">
                  <p:embed/>
                  <p:pic>
                    <p:nvPicPr>
                      <p:cNvPr id="0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50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736724"/>
            <a:ext cx="12192000" cy="5121275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0" y="0"/>
            <a:ext cx="12192000" cy="1736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US" sz="160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914526"/>
            <a:ext cx="11160125" cy="1384995"/>
          </a:xfrm>
        </p:spPr>
        <p:txBody>
          <a:bodyPr anchor="t">
            <a:spAutoFit/>
          </a:bodyPr>
          <a:lstStyle>
            <a:lvl1pPr algn="l">
              <a:lnSpc>
                <a:spcPct val="90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944438"/>
            <a:ext cx="7596188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GB"/>
          </a:p>
        </p:txBody>
      </p:sp>
      <p:pic>
        <p:nvPicPr>
          <p:cNvPr id="10" name="Bild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>
  <p:cSld name="Divider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Folie" r:id="rId3" imgW="10160" imgH="10160" progId="TCLayout.ActiveDocument.1">
                  <p:embed/>
                </p:oleObj>
              </mc:Choice>
              <mc:Fallback>
                <p:oleObj name="think-cell Foli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15938" y="944438"/>
            <a:ext cx="9144000" cy="677491"/>
          </a:xfrm>
        </p:spPr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Bild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End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Folie" r:id="rId3" imgW="8890" imgH="8890" progId="TCLayout.ActiveDocument.1">
                  <p:embed/>
                </p:oleObj>
              </mc:Choice>
              <mc:Fallback>
                <p:oleObj name="think-cell Folie" r:id="rId3" imgW="8890" imgH="889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de-DE" sz="66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848291"/>
            <a:ext cx="11160126" cy="1986575"/>
          </a:xfrm>
        </p:spPr>
        <p:txBody>
          <a:bodyPr anchor="t"/>
          <a:lstStyle>
            <a:lvl1pPr algn="l">
              <a:lnSpc>
                <a:spcPct val="95000"/>
              </a:lnSpc>
              <a:defRPr sz="66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7" y="4053845"/>
            <a:ext cx="11160125" cy="2327904"/>
          </a:xfr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sz="10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GB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Bild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OS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Folie" r:id="rId3" imgW="10160" imgH="10160" progId="TCLayout.ActiveDocument.1">
                  <p:embed/>
                </p:oleObj>
              </mc:Choice>
              <mc:Fallback>
                <p:oleObj name="think-cell Foli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944438"/>
            <a:ext cx="9144000" cy="677491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1875304"/>
            <a:ext cx="11160125" cy="367793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pic>
        <p:nvPicPr>
          <p:cNvPr id="9" name="Bild 4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007" y="5960014"/>
            <a:ext cx="1264998" cy="59516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SYLVAN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Folie" r:id="rId3" imgW="8890" imgH="8890" progId="TCLayout.ActiveDocument.1">
                  <p:embed/>
                </p:oleObj>
              </mc:Choice>
              <mc:Fallback>
                <p:oleObj name="think-cell Folie" r:id="rId3" imgW="8890" imgH="8890" progId="TCLayout.ActiveDocument.1">
                  <p:embed/>
                  <p:pic>
                    <p:nvPicPr>
                      <p:cNvPr id="0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Bild 3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729" y="5936457"/>
            <a:ext cx="1619705" cy="6353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1875304"/>
            <a:ext cx="11160125" cy="367793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>
  <p:cSld name="Title Slide (Partner Brand)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Folie" r:id="rId3" imgW="8890" imgH="8890" progId="TCLayout.ActiveDocument.1">
                  <p:embed/>
                </p:oleObj>
              </mc:Choice>
              <mc:Fallback>
                <p:oleObj name="think-cell Folie" r:id="rId3" imgW="8890" imgH="889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50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3750" y="1915722"/>
            <a:ext cx="8727732" cy="1384995"/>
          </a:xfrm>
        </p:spPr>
        <p:txBody>
          <a:bodyPr anchor="t">
            <a:spAutoFit/>
          </a:bodyPr>
          <a:lstStyle>
            <a:lvl1pPr algn="l">
              <a:lnSpc>
                <a:spcPct val="90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944438"/>
            <a:ext cx="8715544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GB"/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Bildplatzhalter 18"/>
          <p:cNvSpPr>
            <a:spLocks noGrp="1"/>
          </p:cNvSpPr>
          <p:nvPr>
            <p:ph type="pic" sz="quarter" idx="10" hasCustomPrompt="1"/>
          </p:nvPr>
        </p:nvSpPr>
        <p:spPr>
          <a:xfrm>
            <a:off x="9938903" y="2000250"/>
            <a:ext cx="1738800" cy="756000"/>
          </a:xfrm>
          <a:solidFill>
            <a:schemeClr val="bg1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800" b="1">
                <a:solidFill>
                  <a:schemeClr val="tx2"/>
                </a:solidFill>
              </a:defRPr>
            </a:lvl1pPr>
          </a:lstStyle>
          <a:p>
            <a:r>
              <a:rPr lang="de-DE" sz="800" b="1">
                <a:solidFill>
                  <a:schemeClr val="tx2"/>
                </a:solidFill>
              </a:rPr>
              <a:t>Partner Brand</a:t>
            </a:r>
            <a:endParaRPr lang="de-DE" sz="800" b="1">
              <a:solidFill>
                <a:schemeClr val="tx2"/>
              </a:solidFill>
            </a:endParaRPr>
          </a:p>
        </p:txBody>
      </p:sp>
      <p:pic>
        <p:nvPicPr>
          <p:cNvPr id="9" name="Bild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((Partner Brand)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Folie" r:id="rId3" imgW="10160" imgH="10160" progId="TCLayout.ActiveDocument.1">
                  <p:embed/>
                </p:oleObj>
              </mc:Choice>
              <mc:Fallback>
                <p:oleObj name="think-cell Folie" r:id="rId3" imgW="10160" imgH="10160" progId="TCLayout.ActiveDocument.1">
                  <p:embed/>
                  <p:pic>
                    <p:nvPicPr>
                      <p:cNvPr id="0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4" name="Bildplatzhalter 18"/>
          <p:cNvSpPr>
            <a:spLocks noGrp="1"/>
          </p:cNvSpPr>
          <p:nvPr>
            <p:ph type="pic" sz="quarter" idx="10" hasCustomPrompt="1"/>
          </p:nvPr>
        </p:nvSpPr>
        <p:spPr>
          <a:xfrm>
            <a:off x="10437909" y="932024"/>
            <a:ext cx="1238153" cy="588764"/>
          </a:xfrm>
          <a:solidFill>
            <a:schemeClr val="bg1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800" b="1">
                <a:solidFill>
                  <a:schemeClr val="tx2"/>
                </a:solidFill>
              </a:defRPr>
            </a:lvl1pPr>
          </a:lstStyle>
          <a:p>
            <a:r>
              <a:rPr lang="de-DE" sz="800" b="1">
                <a:solidFill>
                  <a:schemeClr val="tx2"/>
                </a:solidFill>
              </a:rPr>
              <a:t>Partner Brand</a:t>
            </a:r>
            <a:endParaRPr lang="de-DE" sz="800" b="1">
              <a:solidFill>
                <a:schemeClr val="tx2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515938" y="944438"/>
            <a:ext cx="9144000" cy="677491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Folie" r:id="rId3" imgW="10160" imgH="10160" progId="TCLayout.ActiveDocument.1">
                  <p:embed/>
                </p:oleObj>
              </mc:Choice>
              <mc:Fallback>
                <p:oleObj name="think-cell Foli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944438"/>
            <a:ext cx="9144000" cy="677491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9425" y="456580"/>
            <a:ext cx="9540876" cy="88485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lnSpc>
                <a:spcPts val="2300"/>
              </a:lnSpc>
              <a:defRPr sz="2300" b="1">
                <a:solidFill>
                  <a:srgbClr val="666666"/>
                </a:solidFill>
              </a:defRPr>
            </a:lvl1pPr>
          </a:lstStyle>
          <a:p>
            <a:r>
              <a:rPr lang="en-US"/>
              <a:t>HEADLINE BOLD ARIAL</a:t>
            </a:r>
            <a:br>
              <a:rPr lang="en-US"/>
            </a:br>
            <a:r>
              <a:rPr lang="en-US"/>
              <a:t>SUBHEAD REG ARIAL</a:t>
            </a:r>
            <a:br>
              <a:rPr lang="en-US"/>
            </a:br>
            <a:r>
              <a:rPr lang="en-US"/>
              <a:t>SUBHEAD REG ARIAL</a:t>
            </a:r>
            <a:endParaRPr lang="en-US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10"/>
          </p:nvPr>
        </p:nvSpPr>
        <p:spPr>
          <a:xfrm>
            <a:off x="1" y="4259107"/>
            <a:ext cx="3045600" cy="2598894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25"/>
          </p:nvPr>
        </p:nvSpPr>
        <p:spPr>
          <a:xfrm>
            <a:off x="3050400" y="4259107"/>
            <a:ext cx="3045600" cy="2598894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26" name="Picture Placeholder 31"/>
          <p:cNvSpPr>
            <a:spLocks noGrp="1"/>
          </p:cNvSpPr>
          <p:nvPr>
            <p:ph type="pic" sz="quarter" idx="26"/>
          </p:nvPr>
        </p:nvSpPr>
        <p:spPr>
          <a:xfrm>
            <a:off x="6096000" y="4259107"/>
            <a:ext cx="3045600" cy="2598894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27" name="Picture Placeholder 31"/>
          <p:cNvSpPr>
            <a:spLocks noGrp="1"/>
          </p:cNvSpPr>
          <p:nvPr>
            <p:ph type="pic" sz="quarter" idx="27"/>
          </p:nvPr>
        </p:nvSpPr>
        <p:spPr>
          <a:xfrm>
            <a:off x="9146400" y="4259107"/>
            <a:ext cx="3045600" cy="2598894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28"/>
          </p:nvPr>
        </p:nvSpPr>
        <p:spPr>
          <a:xfrm>
            <a:off x="1" y="1665288"/>
            <a:ext cx="3045600" cy="2598894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29" name="Picture Placeholder 31"/>
          <p:cNvSpPr>
            <a:spLocks noGrp="1"/>
          </p:cNvSpPr>
          <p:nvPr>
            <p:ph type="pic" sz="quarter" idx="29"/>
          </p:nvPr>
        </p:nvSpPr>
        <p:spPr>
          <a:xfrm>
            <a:off x="3050400" y="1665288"/>
            <a:ext cx="3045600" cy="2598894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30" name="Picture Placeholder 31"/>
          <p:cNvSpPr>
            <a:spLocks noGrp="1"/>
          </p:cNvSpPr>
          <p:nvPr>
            <p:ph type="pic" sz="quarter" idx="30"/>
          </p:nvPr>
        </p:nvSpPr>
        <p:spPr>
          <a:xfrm>
            <a:off x="6096000" y="1665288"/>
            <a:ext cx="3045600" cy="2598894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31" name="Picture Placeholder 31"/>
          <p:cNvSpPr>
            <a:spLocks noGrp="1"/>
          </p:cNvSpPr>
          <p:nvPr>
            <p:ph type="pic" sz="quarter" idx="31"/>
          </p:nvPr>
        </p:nvSpPr>
        <p:spPr>
          <a:xfrm>
            <a:off x="9146400" y="1665288"/>
            <a:ext cx="3045600" cy="2598894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32" hasCustomPrompt="1"/>
          </p:nvPr>
        </p:nvSpPr>
        <p:spPr>
          <a:xfrm>
            <a:off x="4800" y="3848100"/>
            <a:ext cx="3040025" cy="411163"/>
          </a:xfrm>
          <a:prstGeom prst="rect">
            <a:avLst/>
          </a:prstGeom>
        </p:spPr>
        <p:txBody>
          <a:bodyPr lIns="468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</a:t>
            </a:r>
            <a:endParaRPr lang="en-US"/>
          </a:p>
        </p:txBody>
      </p:sp>
      <p:sp>
        <p:nvSpPr>
          <p:cNvPr id="35" name="Text Placeholder 33"/>
          <p:cNvSpPr>
            <a:spLocks noGrp="1"/>
          </p:cNvSpPr>
          <p:nvPr>
            <p:ph type="body" sz="quarter" idx="33" hasCustomPrompt="1"/>
          </p:nvPr>
        </p:nvSpPr>
        <p:spPr>
          <a:xfrm>
            <a:off x="3044825" y="3848100"/>
            <a:ext cx="3045600" cy="411163"/>
          </a:xfrm>
          <a:prstGeom prst="rect">
            <a:avLst/>
          </a:prstGeom>
        </p:spPr>
        <p:txBody>
          <a:bodyPr lIns="180000" rIns="180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 amet</a:t>
            </a:r>
            <a:endParaRPr lang="en-US"/>
          </a:p>
        </p:txBody>
      </p:sp>
      <p:sp>
        <p:nvSpPr>
          <p:cNvPr id="37" name="Text Placeholder 33"/>
          <p:cNvSpPr>
            <a:spLocks noGrp="1"/>
          </p:cNvSpPr>
          <p:nvPr>
            <p:ph type="body" sz="quarter" idx="34" hasCustomPrompt="1"/>
          </p:nvPr>
        </p:nvSpPr>
        <p:spPr>
          <a:xfrm>
            <a:off x="6100799" y="3848100"/>
            <a:ext cx="3045600" cy="411163"/>
          </a:xfrm>
          <a:prstGeom prst="rect">
            <a:avLst/>
          </a:prstGeom>
        </p:spPr>
        <p:txBody>
          <a:bodyPr lIns="180000" rIns="180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 amet</a:t>
            </a:r>
            <a:endParaRPr lang="en-US"/>
          </a:p>
        </p:txBody>
      </p:sp>
      <p:sp>
        <p:nvSpPr>
          <p:cNvPr id="38" name="Text Placeholder 33"/>
          <p:cNvSpPr>
            <a:spLocks noGrp="1"/>
          </p:cNvSpPr>
          <p:nvPr>
            <p:ph type="body" sz="quarter" idx="35" hasCustomPrompt="1"/>
          </p:nvPr>
        </p:nvSpPr>
        <p:spPr>
          <a:xfrm>
            <a:off x="9156775" y="3848100"/>
            <a:ext cx="3040025" cy="411163"/>
          </a:xfrm>
          <a:prstGeom prst="rect">
            <a:avLst/>
          </a:prstGeom>
        </p:spPr>
        <p:txBody>
          <a:bodyPr lIns="180000" rIns="468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</a:t>
            </a:r>
            <a:endParaRPr lang="en-US"/>
          </a:p>
        </p:txBody>
      </p:sp>
      <p:sp>
        <p:nvSpPr>
          <p:cNvPr id="39" name="Text Placeholder 33"/>
          <p:cNvSpPr>
            <a:spLocks noGrp="1"/>
          </p:cNvSpPr>
          <p:nvPr>
            <p:ph type="body" sz="quarter" idx="36" hasCustomPrompt="1"/>
          </p:nvPr>
        </p:nvSpPr>
        <p:spPr>
          <a:xfrm>
            <a:off x="4800" y="5970587"/>
            <a:ext cx="3040025" cy="411163"/>
          </a:xfrm>
          <a:prstGeom prst="rect">
            <a:avLst/>
          </a:prstGeom>
        </p:spPr>
        <p:txBody>
          <a:bodyPr lIns="468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</a:t>
            </a:r>
            <a:endParaRPr lang="en-US"/>
          </a:p>
        </p:txBody>
      </p:sp>
      <p:sp>
        <p:nvSpPr>
          <p:cNvPr id="40" name="Text Placeholder 33"/>
          <p:cNvSpPr>
            <a:spLocks noGrp="1"/>
          </p:cNvSpPr>
          <p:nvPr>
            <p:ph type="body" sz="quarter" idx="37" hasCustomPrompt="1"/>
          </p:nvPr>
        </p:nvSpPr>
        <p:spPr>
          <a:xfrm>
            <a:off x="3044825" y="5970587"/>
            <a:ext cx="3045600" cy="411163"/>
          </a:xfrm>
          <a:prstGeom prst="rect">
            <a:avLst/>
          </a:prstGeom>
        </p:spPr>
        <p:txBody>
          <a:bodyPr lIns="180000" rIns="180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 amet</a:t>
            </a:r>
            <a:endParaRPr lang="en-US"/>
          </a:p>
        </p:txBody>
      </p:sp>
      <p:sp>
        <p:nvSpPr>
          <p:cNvPr id="42" name="Text Placeholder 33"/>
          <p:cNvSpPr>
            <a:spLocks noGrp="1"/>
          </p:cNvSpPr>
          <p:nvPr>
            <p:ph type="body" sz="quarter" idx="38" hasCustomPrompt="1"/>
          </p:nvPr>
        </p:nvSpPr>
        <p:spPr>
          <a:xfrm>
            <a:off x="6100799" y="5970587"/>
            <a:ext cx="3045600" cy="411163"/>
          </a:xfrm>
          <a:prstGeom prst="rect">
            <a:avLst/>
          </a:prstGeom>
        </p:spPr>
        <p:txBody>
          <a:bodyPr lIns="180000" rIns="180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 amet</a:t>
            </a:r>
            <a:endParaRPr lang="en-US"/>
          </a:p>
        </p:txBody>
      </p:sp>
      <p:sp>
        <p:nvSpPr>
          <p:cNvPr id="43" name="Text Placeholder 33"/>
          <p:cNvSpPr>
            <a:spLocks noGrp="1"/>
          </p:cNvSpPr>
          <p:nvPr>
            <p:ph type="body" sz="quarter" idx="39" hasCustomPrompt="1"/>
          </p:nvPr>
        </p:nvSpPr>
        <p:spPr>
          <a:xfrm>
            <a:off x="9156775" y="5970587"/>
            <a:ext cx="3040025" cy="411163"/>
          </a:xfrm>
          <a:prstGeom prst="rect">
            <a:avLst/>
          </a:prstGeom>
        </p:spPr>
        <p:txBody>
          <a:bodyPr lIns="180000" rIns="468000"/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k-SK" sz="1500"/>
              <a:t>Lorem Ipsum Dolor sit</a:t>
            </a:r>
            <a:endParaRPr 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itle 7"/>
          <p:cNvSpPr>
            <a:spLocks noGrp="1"/>
          </p:cNvSpPr>
          <p:nvPr>
            <p:ph type="title" hasCustomPrompt="1"/>
          </p:nvPr>
        </p:nvSpPr>
        <p:spPr>
          <a:xfrm>
            <a:off x="479425" y="3002007"/>
            <a:ext cx="10515600" cy="2870200"/>
          </a:xfrm>
          <a:prstGeom prst="rect">
            <a:avLst/>
          </a:prstGeom>
        </p:spPr>
        <p:txBody>
          <a:bodyPr vert="horz" lIns="0" bIns="0" anchor="b"/>
          <a:lstStyle>
            <a:lvl1pPr algn="l">
              <a:lnSpc>
                <a:spcPts val="3600"/>
              </a:lnSpc>
              <a:defRPr sz="4000" b="1" kern="1200" spc="-200" baseline="0">
                <a:solidFill>
                  <a:srgbClr val="FCFAF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k-SK" dirty="0"/>
              <a:t>HEADER BOLD ARIAL</a:t>
            </a:r>
            <a:br>
              <a:rPr lang="sk-SK" dirty="0"/>
            </a:br>
            <a:r>
              <a:rPr lang="sk-SK" dirty="0"/>
              <a:t>SUBHEADER ARIAL REG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79425" y="6007122"/>
            <a:ext cx="10515600" cy="715963"/>
          </a:xfrm>
        </p:spPr>
        <p:txBody>
          <a:bodyPr/>
          <a:lstStyle>
            <a:lvl1pPr marL="0" indent="0">
              <a:lnSpc>
                <a:spcPts val="2800"/>
              </a:lnSpc>
              <a:buNone/>
              <a:defRPr sz="2800" b="1" spc="-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pic>
        <p:nvPicPr>
          <p:cNvPr id="3" name="Picture 2" descr="A logo with a circle in the center&#10;&#10;Description automatically generated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10635596" y="0"/>
            <a:ext cx="1006657" cy="100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fographic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Folie" r:id="rId3" imgW="10160" imgH="10160" progId="TCLayout.ActiveDocument.1">
                  <p:embed/>
                </p:oleObj>
              </mc:Choice>
              <mc:Fallback>
                <p:oleObj name="think-cell Foli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944438"/>
            <a:ext cx="3600450" cy="677491"/>
          </a:xfrm>
        </p:spPr>
        <p:txBody>
          <a:bodyPr/>
          <a:lstStyle>
            <a:lvl1pPr>
              <a:defRPr sz="2400" cap="all" baseline="0"/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4329100"/>
            <a:ext cx="3600450" cy="2052650"/>
          </a:xfrm>
        </p:spPr>
        <p:txBody>
          <a:bodyPr/>
          <a:lstStyle>
            <a:lvl1pPr marL="182880" indent="-182880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6" y="4329100"/>
            <a:ext cx="3598861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077201" y="4329100"/>
            <a:ext cx="3598861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295775" y="944438"/>
            <a:ext cx="3600450" cy="677491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8077200" y="944438"/>
            <a:ext cx="3598861" cy="677491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14" name="Rectangle 13"/>
          <p:cNvSpPr/>
          <p:nvPr/>
        </p:nvSpPr>
        <p:spPr bwMode="gray">
          <a:xfrm>
            <a:off x="7896223" y="1586211"/>
            <a:ext cx="179390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/>
        </p:nvSpPr>
        <p:spPr bwMode="gray">
          <a:xfrm>
            <a:off x="4116387" y="1586211"/>
            <a:ext cx="179387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 hasCustomPrompt="1"/>
          </p:nvPr>
        </p:nvSpPr>
        <p:spPr>
          <a:xfrm>
            <a:off x="515938" y="1924049"/>
            <a:ext cx="3600450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диаграммы</a:t>
            </a:r>
            <a:endParaRPr lang="en-GB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 hasCustomPrompt="1"/>
          </p:nvPr>
        </p:nvSpPr>
        <p:spPr>
          <a:xfrm>
            <a:off x="4295775" y="1924050"/>
            <a:ext cx="3598861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диаграммы</a:t>
            </a:r>
            <a:endParaRPr lang="en-GB"/>
          </a:p>
        </p:txBody>
      </p:sp>
      <p:sp>
        <p:nvSpPr>
          <p:cNvPr id="20" name="Chart Placeholder 17"/>
          <p:cNvSpPr>
            <a:spLocks noGrp="1"/>
          </p:cNvSpPr>
          <p:nvPr>
            <p:ph type="chart" sz="quarter" idx="19" hasCustomPrompt="1"/>
          </p:nvPr>
        </p:nvSpPr>
        <p:spPr>
          <a:xfrm>
            <a:off x="8077200" y="1924050"/>
            <a:ext cx="3598861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диаграммы</a:t>
            </a:r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fo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Folie" r:id="rId3" imgW="10160" imgH="10160" progId="TCLayout.ActiveDocument.1">
                  <p:embed/>
                </p:oleObj>
              </mc:Choice>
              <mc:Fallback>
                <p:oleObj name="think-cell Foli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944438"/>
            <a:ext cx="5489578" cy="677491"/>
          </a:xfrm>
        </p:spPr>
        <p:txBody>
          <a:bodyPr/>
          <a:lstStyle>
            <a:lvl1pPr>
              <a:defRPr sz="2400" cap="all" baseline="0"/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4329100"/>
            <a:ext cx="5489578" cy="2052650"/>
          </a:xfrm>
        </p:spPr>
        <p:txBody>
          <a:bodyPr/>
          <a:lstStyle>
            <a:lvl1pPr marL="182880" indent="-182880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186490" y="4329100"/>
            <a:ext cx="5489570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186489" y="944438"/>
            <a:ext cx="5489570" cy="677491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15" name="Rectangle 14"/>
          <p:cNvSpPr/>
          <p:nvPr/>
        </p:nvSpPr>
        <p:spPr bwMode="gray">
          <a:xfrm>
            <a:off x="6005511" y="1586211"/>
            <a:ext cx="180977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 hasCustomPrompt="1"/>
          </p:nvPr>
        </p:nvSpPr>
        <p:spPr>
          <a:xfrm>
            <a:off x="515937" y="1924050"/>
            <a:ext cx="5489576" cy="22606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диаграммы</a:t>
            </a:r>
            <a:endParaRPr lang="en-GB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 hasCustomPrompt="1"/>
          </p:nvPr>
        </p:nvSpPr>
        <p:spPr>
          <a:xfrm>
            <a:off x="6186490" y="1924050"/>
            <a:ext cx="5489570" cy="22606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диаграммы</a:t>
            </a:r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fo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Folie" r:id="rId3" imgW="10160" imgH="10160" progId="TCLayout.ActiveDocument.1">
                  <p:embed/>
                </p:oleObj>
              </mc:Choice>
              <mc:Fallback>
                <p:oleObj name="think-cell Foli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944438"/>
            <a:ext cx="11160122" cy="677491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077200" y="1874839"/>
            <a:ext cx="3598859" cy="4506912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 hasCustomPrompt="1"/>
          </p:nvPr>
        </p:nvSpPr>
        <p:spPr>
          <a:xfrm>
            <a:off x="515937" y="1924049"/>
            <a:ext cx="7380288" cy="4457701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диаграммы</a:t>
            </a:r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ll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Folie" r:id="rId3" imgW="10160" imgH="10160" progId="TCLayout.ActiveDocument.1">
                  <p:embed/>
                </p:oleObj>
              </mc:Choice>
              <mc:Fallback>
                <p:oleObj name="think-cell Foli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2283618"/>
            <a:ext cx="3600450" cy="4098131"/>
          </a:xfrm>
          <a:solidFill>
            <a:schemeClr val="bg2"/>
          </a:solidFill>
        </p:spPr>
        <p:txBody>
          <a:bodyPr lIns="108000" tIns="72000" rIns="90000" bIns="72000"/>
          <a:lstStyle>
            <a:lvl1pPr marL="182880" indent="-182880">
              <a:defRPr sz="1800"/>
            </a:lvl1pPr>
            <a:lvl2pPr marL="361950" indent="-180975">
              <a:defRPr sz="1800"/>
            </a:lvl2pPr>
            <a:lvl3pPr marL="542925" indent="-180975">
              <a:defRPr sz="1800"/>
            </a:lvl3pPr>
            <a:lvl4pPr marL="714375" indent="-171450">
              <a:defRPr sz="1800"/>
            </a:lvl4pPr>
            <a:lvl5pPr marL="895350" indent="-180975">
              <a:defRPr sz="1800"/>
            </a:lvl5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5" y="2286000"/>
            <a:ext cx="3600449" cy="4095750"/>
          </a:xfrm>
          <a:solidFill>
            <a:schemeClr val="bg2"/>
          </a:solidFill>
        </p:spPr>
        <p:txBody>
          <a:bodyPr lIns="108000" tIns="72000" rIns="90000" bIns="72000"/>
          <a:lstStyle>
            <a:lvl1pPr marL="180975" indent="-180975">
              <a:defRPr sz="1800"/>
            </a:lvl1pPr>
            <a:lvl2pPr marL="361950" indent="-180975">
              <a:defRPr sz="1800"/>
            </a:lvl2pPr>
            <a:lvl3pPr marL="542925" indent="-180975">
              <a:defRPr sz="1800"/>
            </a:lvl3pPr>
            <a:lvl4pPr marL="714375" indent="-171450">
              <a:defRPr sz="1800"/>
            </a:lvl4pPr>
            <a:lvl5pPr marL="895350" indent="-180975">
              <a:defRPr sz="1800"/>
            </a:lvl5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077201" y="2286000"/>
            <a:ext cx="3598862" cy="4095750"/>
          </a:xfrm>
          <a:solidFill>
            <a:schemeClr val="bg2"/>
          </a:solidFill>
        </p:spPr>
        <p:txBody>
          <a:bodyPr lIns="108000" tIns="72000" rIns="90000" bIns="72000"/>
          <a:lstStyle>
            <a:lvl1pPr marL="180975" indent="-180975">
              <a:defRPr sz="1800"/>
            </a:lvl1pPr>
            <a:lvl2pPr marL="361950" indent="-180975">
              <a:defRPr sz="1800"/>
            </a:lvl2pPr>
            <a:lvl3pPr marL="542925" indent="-180975">
              <a:defRPr sz="1800"/>
            </a:lvl3pPr>
            <a:lvl4pPr marL="714375" indent="-171450">
              <a:defRPr sz="1800"/>
            </a:lvl4pPr>
            <a:lvl5pPr marL="895350" indent="-180975">
              <a:defRPr sz="1800"/>
            </a:lvl5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30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698500" y="4392814"/>
            <a:ext cx="3235326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auf Platzhalter ziehen </a:t>
            </a:r>
            <a:br>
              <a:rPr lang="de-DE"/>
            </a:br>
            <a:r>
              <a:rPr lang="de-DE"/>
              <a:t>oder durch Klicken </a:t>
            </a:r>
            <a:br>
              <a:rPr lang="de-DE"/>
            </a:br>
            <a:r>
              <a:rPr lang="de-DE"/>
              <a:t>auf Symbol hinzufügen</a:t>
            </a:r>
            <a:endParaRPr lang="en-GB"/>
          </a:p>
        </p:txBody>
      </p:sp>
      <p:sp>
        <p:nvSpPr>
          <p:cNvPr id="31" name="Picture Placeholder 9"/>
          <p:cNvSpPr>
            <a:spLocks noGrp="1"/>
          </p:cNvSpPr>
          <p:nvPr>
            <p:ph type="pic" sz="quarter" idx="19" hasCustomPrompt="1"/>
          </p:nvPr>
        </p:nvSpPr>
        <p:spPr>
          <a:xfrm>
            <a:off x="4482277" y="4392814"/>
            <a:ext cx="3227442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auf Platzhalter ziehen </a:t>
            </a:r>
            <a:br>
              <a:rPr lang="de-DE"/>
            </a:br>
            <a:r>
              <a:rPr lang="de-DE"/>
              <a:t>oder durch Klicken </a:t>
            </a:r>
            <a:br>
              <a:rPr lang="de-DE"/>
            </a:br>
            <a:r>
              <a:rPr lang="de-DE"/>
              <a:t>auf Symbol hinzufügen</a:t>
            </a:r>
            <a:endParaRPr lang="en-GB"/>
          </a:p>
        </p:txBody>
      </p:sp>
      <p:sp>
        <p:nvSpPr>
          <p:cNvPr id="32" name="Picture Placeholder 9"/>
          <p:cNvSpPr>
            <a:spLocks noGrp="1"/>
          </p:cNvSpPr>
          <p:nvPr>
            <p:ph type="pic" sz="quarter" idx="20" hasCustomPrompt="1"/>
          </p:nvPr>
        </p:nvSpPr>
        <p:spPr>
          <a:xfrm>
            <a:off x="8295607" y="4392814"/>
            <a:ext cx="3162052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auf Platzhalter ziehen oder durch Klicken </a:t>
            </a:r>
            <a:br>
              <a:rPr lang="de-DE"/>
            </a:br>
            <a:r>
              <a:rPr lang="de-DE"/>
              <a:t>auf Symbol hinzufügen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5939" y="1874838"/>
            <a:ext cx="3600448" cy="270715"/>
          </a:xfrm>
        </p:spPr>
        <p:txBody>
          <a:bodyPr>
            <a:spAutoFit/>
          </a:bodyPr>
          <a:lstStyle>
            <a:lvl1pPr marL="0" indent="0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Headline</a:t>
            </a:r>
            <a:endParaRPr lang="de-DE"/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295776" y="1874838"/>
            <a:ext cx="3600450" cy="270715"/>
          </a:xfrm>
        </p:spPr>
        <p:txBody>
          <a:bodyPr>
            <a:spAutoFit/>
          </a:bodyPr>
          <a:lstStyle>
            <a:lvl1pPr marL="0" indent="0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Headline</a:t>
            </a:r>
            <a:endParaRPr lang="de-DE"/>
          </a:p>
        </p:txBody>
      </p:sp>
      <p:sp>
        <p:nvSpPr>
          <p:cNvPr id="2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077201" y="1874838"/>
            <a:ext cx="3598862" cy="270715"/>
          </a:xfrm>
        </p:spPr>
        <p:txBody>
          <a:bodyPr>
            <a:spAutoFit/>
          </a:bodyPr>
          <a:lstStyle>
            <a:lvl1pPr marL="0" indent="0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Headline</a:t>
            </a:r>
            <a:endParaRPr lang="de-DE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15938" y="944438"/>
            <a:ext cx="9144000" cy="677491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Folie" r:id="rId3" imgW="10160" imgH="10160" progId="TCLayout.ActiveDocument.1">
                  <p:embed/>
                </p:oleObj>
              </mc:Choice>
              <mc:Fallback>
                <p:oleObj name="think-cell Folie" r:id="rId3" imgW="10160" imgH="1016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944438"/>
            <a:ext cx="9144000" cy="677491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Folie" r:id="rId3" imgW="10160" imgH="10160" progId="TCLayout.ActiveDocument.1">
                  <p:embed/>
                </p:oleObj>
              </mc:Choice>
              <mc:Fallback>
                <p:oleObj name="think-cell Folie" r:id="rId3" imgW="10160" imgH="10160" progId="TCLayout.ActiveDocument.1">
                  <p:embed/>
                  <p:pic>
                    <p:nvPicPr>
                      <p:cNvPr id="0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 bwMode="gray">
          <a:xfrm>
            <a:off x="0" y="1586211"/>
            <a:ext cx="12192000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15938" y="944438"/>
            <a:ext cx="9144000" cy="677491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Folie" r:id="rId3" imgW="10160" imgH="10160" progId="TCLayout.ActiveDocument.1">
                  <p:embed/>
                </p:oleObj>
              </mc:Choice>
              <mc:Fallback>
                <p:oleObj name="think-cell Folie" r:id="rId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gray">
          <a:xfrm>
            <a:off x="0" y="1657350"/>
            <a:ext cx="6275388" cy="149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75388" y="944655"/>
            <a:ext cx="5400673" cy="677491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75388" y="1874838"/>
            <a:ext cx="5400673" cy="450691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8" Type="http://schemas.openxmlformats.org/officeDocument/2006/relationships/theme" Target="../theme/theme1.xml"/><Relationship Id="rId27" Type="http://schemas.openxmlformats.org/officeDocument/2006/relationships/vmlDrawing" Target="../drawings/vmlDrawing21.vml"/><Relationship Id="rId26" Type="http://schemas.openxmlformats.org/officeDocument/2006/relationships/image" Target="../media/image8.emf"/><Relationship Id="rId25" Type="http://schemas.openxmlformats.org/officeDocument/2006/relationships/tags" Target="../tags/tag42.xml"/><Relationship Id="rId24" Type="http://schemas.openxmlformats.org/officeDocument/2006/relationships/image" Target="../media/image3.emf"/><Relationship Id="rId23" Type="http://schemas.openxmlformats.org/officeDocument/2006/relationships/oleObject" Target="../embeddings/oleObject21.bin"/><Relationship Id="rId22" Type="http://schemas.openxmlformats.org/officeDocument/2006/relationships/tags" Target="../tags/tag41.xml"/><Relationship Id="rId21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Folie" r:id="rId23" imgW="10160" imgH="10160" progId="TCLayout.ActiveDocument.1">
                  <p:embed/>
                </p:oleObj>
              </mc:Choice>
              <mc:Fallback>
                <p:oleObj name="think-cell Folie" r:id="rId23" imgW="10160" imgH="1016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5938" y="944438"/>
            <a:ext cx="9144000" cy="67749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15937" y="1873251"/>
            <a:ext cx="11160125" cy="45084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Textfeld 11"/>
          <p:cNvSpPr txBox="1"/>
          <p:nvPr/>
        </p:nvSpPr>
        <p:spPr>
          <a:xfrm>
            <a:off x="515938" y="365125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/>
            </a:fld>
            <a:endParaRPr lang="de-DE"/>
          </a:p>
        </p:txBody>
      </p:sp>
      <p:pic>
        <p:nvPicPr>
          <p:cNvPr id="10" name="Bild 6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2666" y="365125"/>
            <a:ext cx="1764000" cy="434769"/>
          </a:xfrm>
          <a:prstGeom prst="rect">
            <a:avLst/>
          </a:prstGeom>
        </p:spPr>
      </p:pic>
      <p:cxnSp>
        <p:nvCxnSpPr>
          <p:cNvPr id="15" name="Straight Connector 10"/>
          <p:cNvCxnSpPr/>
          <p:nvPr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</p:sldLayoutIdLst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buNone/>
        <a:defRPr sz="2400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1655" indent="-269875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08355" indent="-269875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135" indent="-269875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10" indent="-269875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7" Type="http://schemas.openxmlformats.org/officeDocument/2006/relationships/vmlDrawing" Target="../drawings/vmlDrawing22.vml"/><Relationship Id="rId6" Type="http://schemas.openxmlformats.org/officeDocument/2006/relationships/slideLayout" Target="../slideLayouts/slideLayout21.xml"/><Relationship Id="rId5" Type="http://schemas.openxmlformats.org/officeDocument/2006/relationships/image" Target="../media/image11.jpeg"/><Relationship Id="rId4" Type="http://schemas.openxmlformats.org/officeDocument/2006/relationships/image" Target="../media/image10.emf"/><Relationship Id="rId3" Type="http://schemas.openxmlformats.org/officeDocument/2006/relationships/oleObject" Target="../embeddings/oleObject22.bin"/><Relationship Id="rId2" Type="http://schemas.openxmlformats.org/officeDocument/2006/relationships/tags" Target="../tags/tag43.xml"/><Relationship Id="rId1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3.vml"/><Relationship Id="rId7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Relationship Id="rId3" Type="http://schemas.openxmlformats.org/officeDocument/2006/relationships/image" Target="../media/image12.emf"/><Relationship Id="rId2" Type="http://schemas.openxmlformats.org/officeDocument/2006/relationships/oleObject" Target="../embeddings/oleObject23.bin"/><Relationship Id="rId1" Type="http://schemas.openxmlformats.org/officeDocument/2006/relationships/tags" Target="../tags/tag44.xml"/></Relationships>
</file>

<file path=ppt/slides/_rels/slide3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4.vml"/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15.png"/><Relationship Id="rId3" Type="http://schemas.openxmlformats.org/officeDocument/2006/relationships/image" Target="../media/image12.emf"/><Relationship Id="rId2" Type="http://schemas.openxmlformats.org/officeDocument/2006/relationships/oleObject" Target="../embeddings/oleObject24.bin"/><Relationship Id="rId1" Type="http://schemas.openxmlformats.org/officeDocument/2006/relationships/tags" Target="../tags/tag4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5.vml"/><Relationship Id="rId7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Relationship Id="rId3" Type="http://schemas.openxmlformats.org/officeDocument/2006/relationships/image" Target="../media/image12.emf"/><Relationship Id="rId2" Type="http://schemas.openxmlformats.org/officeDocument/2006/relationships/oleObject" Target="../embeddings/oleObject25.bin"/><Relationship Id="rId1" Type="http://schemas.openxmlformats.org/officeDocument/2006/relationships/tags" Target="../tags/tag4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6.vml"/><Relationship Id="rId7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8.png"/><Relationship Id="rId4" Type="http://schemas.openxmlformats.org/officeDocument/2006/relationships/image" Target="../media/image19.png"/><Relationship Id="rId3" Type="http://schemas.openxmlformats.org/officeDocument/2006/relationships/image" Target="../media/image12.emf"/><Relationship Id="rId2" Type="http://schemas.openxmlformats.org/officeDocument/2006/relationships/oleObject" Target="../embeddings/oleObject26.bin"/><Relationship Id="rId1" Type="http://schemas.openxmlformats.org/officeDocument/2006/relationships/tags" Target="../tags/tag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graphicFrame>
        <p:nvGraphicFramePr>
          <p:cNvPr id="15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1430" imgH="11430" progId="TCLayout.ActiveDocument.1">
                  <p:embed/>
                </p:oleObj>
              </mc:Choice>
              <mc:Fallback>
                <p:oleObj name="think-cell Slide" r:id="rId3" imgW="11430" imgH="1143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>
              <a:alpha val="21176"/>
            </a:srgb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ru-RU" sz="1600" dirty="0" err="1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Новинка! </a:t>
            </a:r>
            <a:br>
              <a:rPr lang="ru-RU" dirty="0"/>
            </a:br>
            <a:endParaRPr lang="de-DE" dirty="0"/>
          </a:p>
        </p:txBody>
      </p:sp>
      <p:sp>
        <p:nvSpPr>
          <p:cNvPr id="47" name="Title 4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WNLIGHT LEDVANCE</a:t>
            </a:r>
            <a:endParaRPr lang="de-DE" dirty="0"/>
          </a:p>
        </p:txBody>
      </p:sp>
      <p:pic>
        <p:nvPicPr>
          <p:cNvPr id="2" name="Рисунок 1" descr="Изображение выглядит как круг, снимок экрана, Графика, логотип&#10;&#10;Контент, сгенерированный ИИ, может содержать ошибки.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3750" y="0"/>
            <a:ext cx="1689279" cy="1689279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Folie" r:id="rId2" imgW="12700" imgH="12700" progId="TCLayout.ActiveDocument.1">
                  <p:embed/>
                </p:oleObj>
              </mc:Choice>
              <mc:Fallback>
                <p:oleObj name="think-cell Folie" r:id="rId2" imgW="12700" imgH="12700" progId="TCLayout.ActiveDocument.1">
                  <p:embed/>
                  <p:pic>
                    <p:nvPicPr>
                      <p:cNvPr id="0" name="Objekt 15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uppieren 20"/>
          <p:cNvGrpSpPr/>
          <p:nvPr/>
        </p:nvGrpSpPr>
        <p:grpSpPr>
          <a:xfrm>
            <a:off x="5980572" y="1860079"/>
            <a:ext cx="2640558" cy="360000"/>
            <a:chOff x="6114280" y="1860079"/>
            <a:chExt cx="2640558" cy="360000"/>
          </a:xfrm>
        </p:grpSpPr>
        <p:grpSp>
          <p:nvGrpSpPr>
            <p:cNvPr id="42" name="Gruppieren 41"/>
            <p:cNvGrpSpPr/>
            <p:nvPr/>
          </p:nvGrpSpPr>
          <p:grpSpPr>
            <a:xfrm>
              <a:off x="6114280" y="1860079"/>
              <a:ext cx="2640558" cy="360000"/>
              <a:chOff x="426036" y="1860079"/>
              <a:chExt cx="2640558" cy="360000"/>
            </a:xfrm>
          </p:grpSpPr>
          <p:sp>
            <p:nvSpPr>
              <p:cNvPr id="46" name="AutoShape 3"/>
              <p:cNvSpPr>
                <a:spLocks noChangeArrowheads="1"/>
              </p:cNvSpPr>
              <p:nvPr/>
            </p:nvSpPr>
            <p:spPr bwMode="auto">
              <a:xfrm>
                <a:off x="504136" y="1886363"/>
                <a:ext cx="2562458" cy="307433"/>
              </a:xfrm>
              <a:prstGeom prst="roundRect">
                <a:avLst>
                  <a:gd name="adj" fmla="val 0"/>
                </a:avLst>
              </a:prstGeom>
              <a:solidFill>
                <a:srgbClr val="FF6600"/>
              </a:solidFill>
              <a:ln w="0" algn="ctr">
                <a:noFill/>
                <a:round/>
              </a:ln>
              <a:effectLst/>
            </p:spPr>
            <p:txBody>
              <a:bodyPr lIns="360000" tIns="0" rIns="36000" bIns="0" anchor="ctr"/>
              <a:lstStyle/>
              <a:p>
                <a:pPr defTabSz="762000" eaLnBrk="0" hangingPunct="0">
                  <a:lnSpc>
                    <a:spcPct val="90000"/>
                  </a:lnSpc>
                  <a:buClr>
                    <a:srgbClr val="BFBFBF"/>
                  </a:buClr>
                </a:pPr>
                <a:r>
                  <a:rPr lang="en-US" altLang="zh-CN" b="1" dirty="0">
                    <a:solidFill>
                      <a:srgbClr val="FFFFFF"/>
                    </a:solidFill>
                    <a:latin typeface="Calibri" panose="020F0502020204030204" pitchFamily="34" charset="0"/>
                  </a:rPr>
                  <a:t>ETA</a:t>
                </a:r>
                <a:endParaRPr lang="en-US" altLang="zh-CN" b="1" dirty="0">
                  <a:solidFill>
                    <a:srgbClr val="FFFFFF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47" name="AutoShape 3"/>
              <p:cNvSpPr>
                <a:spLocks noChangeArrowheads="1"/>
              </p:cNvSpPr>
              <p:nvPr/>
            </p:nvSpPr>
            <p:spPr bwMode="auto">
              <a:xfrm>
                <a:off x="426036" y="1860079"/>
                <a:ext cx="360000" cy="360000"/>
              </a:xfrm>
              <a:prstGeom prst="ellipse">
                <a:avLst/>
              </a:prstGeom>
              <a:solidFill>
                <a:schemeClr val="bg1"/>
              </a:solidFill>
              <a:ln w="0" algn="ctr">
                <a:solidFill>
                  <a:schemeClr val="accent1"/>
                </a:solidFill>
                <a:round/>
              </a:ln>
              <a:effectLst/>
            </p:spPr>
            <p:txBody>
              <a:bodyPr wrap="none" lIns="0" tIns="36000" rIns="0" bIns="36000" anchor="ctr">
                <a:noAutofit/>
              </a:bodyPr>
              <a:lstStyle/>
              <a:p>
                <a:pPr algn="ctr" defTabSz="762000" eaLnBrk="0" hangingPunct="0">
                  <a:lnSpc>
                    <a:spcPct val="90000"/>
                  </a:lnSpc>
                  <a:buClr>
                    <a:srgbClr val="BFBFBF"/>
                  </a:buClr>
                </a:pPr>
                <a:r>
                  <a:rPr lang="en-US" altLang="zh-CN" sz="1600" b="1" dirty="0">
                    <a:solidFill>
                      <a:schemeClr val="accent1"/>
                    </a:solidFill>
                    <a:latin typeface="Calibri" panose="020F0502020204030204" pitchFamily="34" charset="0"/>
                  </a:rPr>
                  <a:t> 3.</a:t>
                </a:r>
                <a:endParaRPr lang="en-US" altLang="zh-CN" sz="1600" b="1" dirty="0">
                  <a:solidFill>
                    <a:schemeClr val="accent1"/>
                  </a:solidFill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86" name="Freeform 9"/>
            <p:cNvSpPr>
              <a:spLocks noChangeAspect="1" noEditPoints="1"/>
            </p:cNvSpPr>
            <p:nvPr/>
          </p:nvSpPr>
          <p:spPr bwMode="auto">
            <a:xfrm>
              <a:off x="8437760" y="1905079"/>
              <a:ext cx="285849" cy="270000"/>
            </a:xfrm>
            <a:custGeom>
              <a:avLst/>
              <a:gdLst>
                <a:gd name="T0" fmla="*/ 550 w 827"/>
                <a:gd name="T1" fmla="*/ 641 h 785"/>
                <a:gd name="T2" fmla="*/ 490 w 827"/>
                <a:gd name="T3" fmla="*/ 624 h 785"/>
                <a:gd name="T4" fmla="*/ 613 w 827"/>
                <a:gd name="T5" fmla="*/ 611 h 785"/>
                <a:gd name="T6" fmla="*/ 583 w 827"/>
                <a:gd name="T7" fmla="*/ 634 h 785"/>
                <a:gd name="T8" fmla="*/ 579 w 827"/>
                <a:gd name="T9" fmla="*/ 636 h 785"/>
                <a:gd name="T10" fmla="*/ 589 w 827"/>
                <a:gd name="T11" fmla="*/ 670 h 785"/>
                <a:gd name="T12" fmla="*/ 613 w 827"/>
                <a:gd name="T13" fmla="*/ 657 h 785"/>
                <a:gd name="T14" fmla="*/ 649 w 827"/>
                <a:gd name="T15" fmla="*/ 619 h 785"/>
                <a:gd name="T16" fmla="*/ 664 w 827"/>
                <a:gd name="T17" fmla="*/ 578 h 785"/>
                <a:gd name="T18" fmla="*/ 652 w 827"/>
                <a:gd name="T19" fmla="*/ 500 h 785"/>
                <a:gd name="T20" fmla="*/ 630 w 827"/>
                <a:gd name="T21" fmla="*/ 564 h 785"/>
                <a:gd name="T22" fmla="*/ 213 w 827"/>
                <a:gd name="T23" fmla="*/ 602 h 785"/>
                <a:gd name="T24" fmla="*/ 210 w 827"/>
                <a:gd name="T25" fmla="*/ 648 h 785"/>
                <a:gd name="T26" fmla="*/ 253 w 827"/>
                <a:gd name="T27" fmla="*/ 624 h 785"/>
                <a:gd name="T28" fmla="*/ 827 w 827"/>
                <a:gd name="T29" fmla="*/ 740 h 785"/>
                <a:gd name="T30" fmla="*/ 716 w 827"/>
                <a:gd name="T31" fmla="*/ 394 h 785"/>
                <a:gd name="T32" fmla="*/ 415 w 827"/>
                <a:gd name="T33" fmla="*/ 383 h 785"/>
                <a:gd name="T34" fmla="*/ 635 w 827"/>
                <a:gd name="T35" fmla="*/ 466 h 785"/>
                <a:gd name="T36" fmla="*/ 188 w 827"/>
                <a:gd name="T37" fmla="*/ 717 h 785"/>
                <a:gd name="T38" fmla="*/ 157 w 827"/>
                <a:gd name="T39" fmla="*/ 681 h 785"/>
                <a:gd name="T40" fmla="*/ 149 w 827"/>
                <a:gd name="T41" fmla="*/ 438 h 785"/>
                <a:gd name="T42" fmla="*/ 121 w 827"/>
                <a:gd name="T43" fmla="*/ 387 h 785"/>
                <a:gd name="T44" fmla="*/ 95 w 827"/>
                <a:gd name="T45" fmla="*/ 417 h 785"/>
                <a:gd name="T46" fmla="*/ 4 w 827"/>
                <a:gd name="T47" fmla="*/ 762 h 785"/>
                <a:gd name="T48" fmla="*/ 38 w 827"/>
                <a:gd name="T49" fmla="*/ 784 h 785"/>
                <a:gd name="T50" fmla="*/ 809 w 827"/>
                <a:gd name="T51" fmla="*/ 776 h 785"/>
                <a:gd name="T52" fmla="*/ 827 w 827"/>
                <a:gd name="T53" fmla="*/ 745 h 785"/>
                <a:gd name="T54" fmla="*/ 256 w 827"/>
                <a:gd name="T55" fmla="*/ 180 h 785"/>
                <a:gd name="T56" fmla="*/ 295 w 827"/>
                <a:gd name="T57" fmla="*/ 231 h 785"/>
                <a:gd name="T58" fmla="*/ 361 w 827"/>
                <a:gd name="T59" fmla="*/ 240 h 785"/>
                <a:gd name="T60" fmla="*/ 412 w 827"/>
                <a:gd name="T61" fmla="*/ 200 h 785"/>
                <a:gd name="T62" fmla="*/ 421 w 827"/>
                <a:gd name="T63" fmla="*/ 134 h 785"/>
                <a:gd name="T64" fmla="*/ 381 w 827"/>
                <a:gd name="T65" fmla="*/ 83 h 785"/>
                <a:gd name="T66" fmla="*/ 315 w 827"/>
                <a:gd name="T67" fmla="*/ 74 h 785"/>
                <a:gd name="T68" fmla="*/ 264 w 827"/>
                <a:gd name="T69" fmla="*/ 114 h 785"/>
                <a:gd name="T70" fmla="*/ 181 w 827"/>
                <a:gd name="T71" fmla="*/ 170 h 785"/>
                <a:gd name="T72" fmla="*/ 190 w 827"/>
                <a:gd name="T73" fmla="*/ 113 h 785"/>
                <a:gd name="T74" fmla="*/ 231 w 827"/>
                <a:gd name="T75" fmla="*/ 49 h 785"/>
                <a:gd name="T76" fmla="*/ 298 w 827"/>
                <a:gd name="T77" fmla="*/ 7 h 785"/>
                <a:gd name="T78" fmla="*/ 378 w 827"/>
                <a:gd name="T79" fmla="*/ 7 h 785"/>
                <a:gd name="T80" fmla="*/ 445 w 827"/>
                <a:gd name="T81" fmla="*/ 49 h 785"/>
                <a:gd name="T82" fmla="*/ 487 w 827"/>
                <a:gd name="T83" fmla="*/ 113 h 785"/>
                <a:gd name="T84" fmla="*/ 495 w 827"/>
                <a:gd name="T85" fmla="*/ 182 h 785"/>
                <a:gd name="T86" fmla="*/ 480 w 827"/>
                <a:gd name="T87" fmla="*/ 232 h 785"/>
                <a:gd name="T88" fmla="*/ 451 w 827"/>
                <a:gd name="T89" fmla="*/ 267 h 785"/>
                <a:gd name="T90" fmla="*/ 376 w 827"/>
                <a:gd name="T91" fmla="*/ 395 h 785"/>
                <a:gd name="T92" fmla="*/ 333 w 827"/>
                <a:gd name="T93" fmla="*/ 491 h 785"/>
                <a:gd name="T94" fmla="*/ 301 w 827"/>
                <a:gd name="T95" fmla="*/ 398 h 785"/>
                <a:gd name="T96" fmla="*/ 250 w 827"/>
                <a:gd name="T97" fmla="*/ 298 h 785"/>
                <a:gd name="T98" fmla="*/ 204 w 827"/>
                <a:gd name="T99" fmla="*/ 244 h 785"/>
                <a:gd name="T100" fmla="*/ 185 w 827"/>
                <a:gd name="T101" fmla="*/ 202 h 785"/>
                <a:gd name="T102" fmla="*/ 334 w 827"/>
                <a:gd name="T103" fmla="*/ 585 h 785"/>
                <a:gd name="T104" fmla="*/ 286 w 827"/>
                <a:gd name="T105" fmla="*/ 619 h 785"/>
                <a:gd name="T106" fmla="*/ 349 w 827"/>
                <a:gd name="T107" fmla="*/ 622 h 785"/>
                <a:gd name="T108" fmla="*/ 382 w 827"/>
                <a:gd name="T109" fmla="*/ 628 h 785"/>
                <a:gd name="T110" fmla="*/ 435 w 827"/>
                <a:gd name="T111" fmla="*/ 604 h 785"/>
                <a:gd name="T112" fmla="*/ 444 w 827"/>
                <a:gd name="T113" fmla="*/ 644 h 785"/>
                <a:gd name="T114" fmla="*/ 385 w 827"/>
                <a:gd name="T115" fmla="*/ 629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27" h="785">
                  <a:moveTo>
                    <a:pt x="513" y="670"/>
                  </a:moveTo>
                  <a:lnTo>
                    <a:pt x="513" y="670"/>
                  </a:lnTo>
                  <a:lnTo>
                    <a:pt x="525" y="673"/>
                  </a:lnTo>
                  <a:lnTo>
                    <a:pt x="537" y="675"/>
                  </a:lnTo>
                  <a:lnTo>
                    <a:pt x="549" y="677"/>
                  </a:lnTo>
                  <a:lnTo>
                    <a:pt x="550" y="641"/>
                  </a:lnTo>
                  <a:lnTo>
                    <a:pt x="540" y="640"/>
                  </a:lnTo>
                  <a:lnTo>
                    <a:pt x="530" y="638"/>
                  </a:lnTo>
                  <a:lnTo>
                    <a:pt x="519" y="635"/>
                  </a:lnTo>
                  <a:lnTo>
                    <a:pt x="509" y="632"/>
                  </a:lnTo>
                  <a:lnTo>
                    <a:pt x="499" y="628"/>
                  </a:lnTo>
                  <a:lnTo>
                    <a:pt x="490" y="624"/>
                  </a:lnTo>
                  <a:lnTo>
                    <a:pt x="478" y="657"/>
                  </a:lnTo>
                  <a:lnTo>
                    <a:pt x="489" y="661"/>
                  </a:lnTo>
                  <a:lnTo>
                    <a:pt x="501" y="666"/>
                  </a:lnTo>
                  <a:lnTo>
                    <a:pt x="513" y="670"/>
                  </a:lnTo>
                  <a:lnTo>
                    <a:pt x="513" y="670"/>
                  </a:lnTo>
                  <a:close/>
                  <a:moveTo>
                    <a:pt x="613" y="611"/>
                  </a:moveTo>
                  <a:lnTo>
                    <a:pt x="613" y="611"/>
                  </a:lnTo>
                  <a:lnTo>
                    <a:pt x="606" y="618"/>
                  </a:lnTo>
                  <a:lnTo>
                    <a:pt x="599" y="624"/>
                  </a:lnTo>
                  <a:lnTo>
                    <a:pt x="591" y="629"/>
                  </a:lnTo>
                  <a:lnTo>
                    <a:pt x="583" y="634"/>
                  </a:lnTo>
                  <a:lnTo>
                    <a:pt x="583" y="634"/>
                  </a:lnTo>
                  <a:lnTo>
                    <a:pt x="582" y="635"/>
                  </a:lnTo>
                  <a:lnTo>
                    <a:pt x="582" y="635"/>
                  </a:lnTo>
                  <a:lnTo>
                    <a:pt x="581" y="635"/>
                  </a:lnTo>
                  <a:lnTo>
                    <a:pt x="581" y="635"/>
                  </a:lnTo>
                  <a:lnTo>
                    <a:pt x="580" y="636"/>
                  </a:lnTo>
                  <a:lnTo>
                    <a:pt x="579" y="636"/>
                  </a:lnTo>
                  <a:lnTo>
                    <a:pt x="579" y="636"/>
                  </a:lnTo>
                  <a:lnTo>
                    <a:pt x="578" y="636"/>
                  </a:lnTo>
                  <a:lnTo>
                    <a:pt x="578" y="636"/>
                  </a:lnTo>
                  <a:lnTo>
                    <a:pt x="577" y="636"/>
                  </a:lnTo>
                  <a:lnTo>
                    <a:pt x="577" y="637"/>
                  </a:lnTo>
                  <a:lnTo>
                    <a:pt x="589" y="670"/>
                  </a:lnTo>
                  <a:lnTo>
                    <a:pt x="589" y="670"/>
                  </a:lnTo>
                  <a:lnTo>
                    <a:pt x="590" y="669"/>
                  </a:lnTo>
                  <a:lnTo>
                    <a:pt x="592" y="669"/>
                  </a:lnTo>
                  <a:lnTo>
                    <a:pt x="592" y="669"/>
                  </a:lnTo>
                  <a:lnTo>
                    <a:pt x="603" y="663"/>
                  </a:lnTo>
                  <a:lnTo>
                    <a:pt x="613" y="657"/>
                  </a:lnTo>
                  <a:lnTo>
                    <a:pt x="623" y="649"/>
                  </a:lnTo>
                  <a:lnTo>
                    <a:pt x="632" y="641"/>
                  </a:lnTo>
                  <a:lnTo>
                    <a:pt x="640" y="633"/>
                  </a:lnTo>
                  <a:lnTo>
                    <a:pt x="647" y="624"/>
                  </a:lnTo>
                  <a:lnTo>
                    <a:pt x="648" y="621"/>
                  </a:lnTo>
                  <a:lnTo>
                    <a:pt x="649" y="619"/>
                  </a:lnTo>
                  <a:lnTo>
                    <a:pt x="650" y="618"/>
                  </a:lnTo>
                  <a:lnTo>
                    <a:pt x="618" y="603"/>
                  </a:lnTo>
                  <a:lnTo>
                    <a:pt x="613" y="611"/>
                  </a:lnTo>
                  <a:lnTo>
                    <a:pt x="613" y="611"/>
                  </a:lnTo>
                  <a:close/>
                  <a:moveTo>
                    <a:pt x="664" y="578"/>
                  </a:moveTo>
                  <a:lnTo>
                    <a:pt x="664" y="578"/>
                  </a:lnTo>
                  <a:lnTo>
                    <a:pt x="665" y="565"/>
                  </a:lnTo>
                  <a:lnTo>
                    <a:pt x="665" y="552"/>
                  </a:lnTo>
                  <a:lnTo>
                    <a:pt x="663" y="538"/>
                  </a:lnTo>
                  <a:lnTo>
                    <a:pt x="660" y="525"/>
                  </a:lnTo>
                  <a:lnTo>
                    <a:pt x="656" y="513"/>
                  </a:lnTo>
                  <a:lnTo>
                    <a:pt x="652" y="500"/>
                  </a:lnTo>
                  <a:lnTo>
                    <a:pt x="620" y="514"/>
                  </a:lnTo>
                  <a:lnTo>
                    <a:pt x="623" y="523"/>
                  </a:lnTo>
                  <a:lnTo>
                    <a:pt x="626" y="533"/>
                  </a:lnTo>
                  <a:lnTo>
                    <a:pt x="629" y="543"/>
                  </a:lnTo>
                  <a:lnTo>
                    <a:pt x="630" y="553"/>
                  </a:lnTo>
                  <a:lnTo>
                    <a:pt x="630" y="564"/>
                  </a:lnTo>
                  <a:lnTo>
                    <a:pt x="630" y="574"/>
                  </a:lnTo>
                  <a:lnTo>
                    <a:pt x="664" y="578"/>
                  </a:lnTo>
                  <a:lnTo>
                    <a:pt x="664" y="578"/>
                  </a:lnTo>
                  <a:close/>
                  <a:moveTo>
                    <a:pt x="223" y="597"/>
                  </a:moveTo>
                  <a:lnTo>
                    <a:pt x="223" y="597"/>
                  </a:lnTo>
                  <a:lnTo>
                    <a:pt x="213" y="602"/>
                  </a:lnTo>
                  <a:lnTo>
                    <a:pt x="203" y="608"/>
                  </a:lnTo>
                  <a:lnTo>
                    <a:pt x="194" y="615"/>
                  </a:lnTo>
                  <a:lnTo>
                    <a:pt x="186" y="623"/>
                  </a:lnTo>
                  <a:lnTo>
                    <a:pt x="178" y="632"/>
                  </a:lnTo>
                  <a:lnTo>
                    <a:pt x="205" y="654"/>
                  </a:lnTo>
                  <a:lnTo>
                    <a:pt x="210" y="648"/>
                  </a:lnTo>
                  <a:lnTo>
                    <a:pt x="217" y="642"/>
                  </a:lnTo>
                  <a:lnTo>
                    <a:pt x="223" y="637"/>
                  </a:lnTo>
                  <a:lnTo>
                    <a:pt x="230" y="633"/>
                  </a:lnTo>
                  <a:lnTo>
                    <a:pt x="238" y="630"/>
                  </a:lnTo>
                  <a:lnTo>
                    <a:pt x="245" y="627"/>
                  </a:lnTo>
                  <a:lnTo>
                    <a:pt x="253" y="624"/>
                  </a:lnTo>
                  <a:lnTo>
                    <a:pt x="245" y="590"/>
                  </a:lnTo>
                  <a:lnTo>
                    <a:pt x="234" y="593"/>
                  </a:lnTo>
                  <a:lnTo>
                    <a:pt x="223" y="597"/>
                  </a:lnTo>
                  <a:lnTo>
                    <a:pt x="223" y="597"/>
                  </a:lnTo>
                  <a:close/>
                  <a:moveTo>
                    <a:pt x="827" y="740"/>
                  </a:moveTo>
                  <a:lnTo>
                    <a:pt x="827" y="740"/>
                  </a:lnTo>
                  <a:lnTo>
                    <a:pt x="826" y="736"/>
                  </a:lnTo>
                  <a:lnTo>
                    <a:pt x="731" y="417"/>
                  </a:lnTo>
                  <a:lnTo>
                    <a:pt x="729" y="411"/>
                  </a:lnTo>
                  <a:lnTo>
                    <a:pt x="725" y="405"/>
                  </a:lnTo>
                  <a:lnTo>
                    <a:pt x="721" y="399"/>
                  </a:lnTo>
                  <a:lnTo>
                    <a:pt x="716" y="394"/>
                  </a:lnTo>
                  <a:lnTo>
                    <a:pt x="711" y="390"/>
                  </a:lnTo>
                  <a:lnTo>
                    <a:pt x="706" y="387"/>
                  </a:lnTo>
                  <a:lnTo>
                    <a:pt x="700" y="385"/>
                  </a:lnTo>
                  <a:lnTo>
                    <a:pt x="694" y="384"/>
                  </a:lnTo>
                  <a:lnTo>
                    <a:pt x="687" y="383"/>
                  </a:lnTo>
                  <a:lnTo>
                    <a:pt x="415" y="383"/>
                  </a:lnTo>
                  <a:lnTo>
                    <a:pt x="389" y="438"/>
                  </a:lnTo>
                  <a:lnTo>
                    <a:pt x="575" y="438"/>
                  </a:lnTo>
                  <a:lnTo>
                    <a:pt x="586" y="453"/>
                  </a:lnTo>
                  <a:lnTo>
                    <a:pt x="596" y="468"/>
                  </a:lnTo>
                  <a:lnTo>
                    <a:pt x="606" y="484"/>
                  </a:lnTo>
                  <a:lnTo>
                    <a:pt x="635" y="466"/>
                  </a:lnTo>
                  <a:lnTo>
                    <a:pt x="627" y="452"/>
                  </a:lnTo>
                  <a:lnTo>
                    <a:pt x="618" y="438"/>
                  </a:lnTo>
                  <a:lnTo>
                    <a:pt x="678" y="438"/>
                  </a:lnTo>
                  <a:lnTo>
                    <a:pt x="764" y="730"/>
                  </a:lnTo>
                  <a:lnTo>
                    <a:pt x="189" y="730"/>
                  </a:lnTo>
                  <a:lnTo>
                    <a:pt x="188" y="717"/>
                  </a:lnTo>
                  <a:lnTo>
                    <a:pt x="189" y="704"/>
                  </a:lnTo>
                  <a:lnTo>
                    <a:pt x="190" y="692"/>
                  </a:lnTo>
                  <a:lnTo>
                    <a:pt x="193" y="680"/>
                  </a:lnTo>
                  <a:lnTo>
                    <a:pt x="160" y="669"/>
                  </a:lnTo>
                  <a:lnTo>
                    <a:pt x="160" y="670"/>
                  </a:lnTo>
                  <a:lnTo>
                    <a:pt x="157" y="681"/>
                  </a:lnTo>
                  <a:lnTo>
                    <a:pt x="155" y="693"/>
                  </a:lnTo>
                  <a:lnTo>
                    <a:pt x="154" y="705"/>
                  </a:lnTo>
                  <a:lnTo>
                    <a:pt x="154" y="717"/>
                  </a:lnTo>
                  <a:lnTo>
                    <a:pt x="155" y="730"/>
                  </a:lnTo>
                  <a:lnTo>
                    <a:pt x="62" y="730"/>
                  </a:lnTo>
                  <a:lnTo>
                    <a:pt x="149" y="438"/>
                  </a:lnTo>
                  <a:lnTo>
                    <a:pt x="288" y="438"/>
                  </a:lnTo>
                  <a:lnTo>
                    <a:pt x="262" y="383"/>
                  </a:lnTo>
                  <a:lnTo>
                    <a:pt x="140" y="383"/>
                  </a:lnTo>
                  <a:lnTo>
                    <a:pt x="133" y="384"/>
                  </a:lnTo>
                  <a:lnTo>
                    <a:pt x="127" y="385"/>
                  </a:lnTo>
                  <a:lnTo>
                    <a:pt x="121" y="387"/>
                  </a:lnTo>
                  <a:lnTo>
                    <a:pt x="115" y="390"/>
                  </a:lnTo>
                  <a:lnTo>
                    <a:pt x="110" y="394"/>
                  </a:lnTo>
                  <a:lnTo>
                    <a:pt x="105" y="399"/>
                  </a:lnTo>
                  <a:lnTo>
                    <a:pt x="101" y="405"/>
                  </a:lnTo>
                  <a:lnTo>
                    <a:pt x="98" y="411"/>
                  </a:lnTo>
                  <a:lnTo>
                    <a:pt x="95" y="417"/>
                  </a:lnTo>
                  <a:lnTo>
                    <a:pt x="1" y="736"/>
                  </a:lnTo>
                  <a:lnTo>
                    <a:pt x="0" y="740"/>
                  </a:lnTo>
                  <a:lnTo>
                    <a:pt x="0" y="745"/>
                  </a:lnTo>
                  <a:lnTo>
                    <a:pt x="0" y="751"/>
                  </a:lnTo>
                  <a:lnTo>
                    <a:pt x="2" y="757"/>
                  </a:lnTo>
                  <a:lnTo>
                    <a:pt x="4" y="762"/>
                  </a:lnTo>
                  <a:lnTo>
                    <a:pt x="8" y="767"/>
                  </a:lnTo>
                  <a:lnTo>
                    <a:pt x="12" y="772"/>
                  </a:lnTo>
                  <a:lnTo>
                    <a:pt x="18" y="776"/>
                  </a:lnTo>
                  <a:lnTo>
                    <a:pt x="25" y="780"/>
                  </a:lnTo>
                  <a:lnTo>
                    <a:pt x="32" y="783"/>
                  </a:lnTo>
                  <a:lnTo>
                    <a:pt x="38" y="784"/>
                  </a:lnTo>
                  <a:lnTo>
                    <a:pt x="45" y="785"/>
                  </a:lnTo>
                  <a:lnTo>
                    <a:pt x="781" y="785"/>
                  </a:lnTo>
                  <a:lnTo>
                    <a:pt x="788" y="784"/>
                  </a:lnTo>
                  <a:lnTo>
                    <a:pt x="795" y="783"/>
                  </a:lnTo>
                  <a:lnTo>
                    <a:pt x="802" y="780"/>
                  </a:lnTo>
                  <a:lnTo>
                    <a:pt x="809" y="776"/>
                  </a:lnTo>
                  <a:lnTo>
                    <a:pt x="815" y="772"/>
                  </a:lnTo>
                  <a:lnTo>
                    <a:pt x="819" y="767"/>
                  </a:lnTo>
                  <a:lnTo>
                    <a:pt x="822" y="762"/>
                  </a:lnTo>
                  <a:lnTo>
                    <a:pt x="825" y="757"/>
                  </a:lnTo>
                  <a:lnTo>
                    <a:pt x="826" y="751"/>
                  </a:lnTo>
                  <a:lnTo>
                    <a:pt x="827" y="745"/>
                  </a:lnTo>
                  <a:lnTo>
                    <a:pt x="827" y="740"/>
                  </a:lnTo>
                  <a:lnTo>
                    <a:pt x="827" y="740"/>
                  </a:lnTo>
                  <a:close/>
                  <a:moveTo>
                    <a:pt x="252" y="157"/>
                  </a:moveTo>
                  <a:lnTo>
                    <a:pt x="252" y="157"/>
                  </a:lnTo>
                  <a:lnTo>
                    <a:pt x="253" y="169"/>
                  </a:lnTo>
                  <a:lnTo>
                    <a:pt x="256" y="180"/>
                  </a:lnTo>
                  <a:lnTo>
                    <a:pt x="259" y="190"/>
                  </a:lnTo>
                  <a:lnTo>
                    <a:pt x="264" y="200"/>
                  </a:lnTo>
                  <a:lnTo>
                    <a:pt x="270" y="209"/>
                  </a:lnTo>
                  <a:lnTo>
                    <a:pt x="277" y="218"/>
                  </a:lnTo>
                  <a:lnTo>
                    <a:pt x="286" y="225"/>
                  </a:lnTo>
                  <a:lnTo>
                    <a:pt x="295" y="231"/>
                  </a:lnTo>
                  <a:lnTo>
                    <a:pt x="305" y="236"/>
                  </a:lnTo>
                  <a:lnTo>
                    <a:pt x="315" y="240"/>
                  </a:lnTo>
                  <a:lnTo>
                    <a:pt x="326" y="242"/>
                  </a:lnTo>
                  <a:lnTo>
                    <a:pt x="338" y="243"/>
                  </a:lnTo>
                  <a:lnTo>
                    <a:pt x="350" y="242"/>
                  </a:lnTo>
                  <a:lnTo>
                    <a:pt x="361" y="240"/>
                  </a:lnTo>
                  <a:lnTo>
                    <a:pt x="371" y="236"/>
                  </a:lnTo>
                  <a:lnTo>
                    <a:pt x="381" y="231"/>
                  </a:lnTo>
                  <a:lnTo>
                    <a:pt x="391" y="225"/>
                  </a:lnTo>
                  <a:lnTo>
                    <a:pt x="399" y="218"/>
                  </a:lnTo>
                  <a:lnTo>
                    <a:pt x="406" y="209"/>
                  </a:lnTo>
                  <a:lnTo>
                    <a:pt x="412" y="200"/>
                  </a:lnTo>
                  <a:lnTo>
                    <a:pt x="417" y="190"/>
                  </a:lnTo>
                  <a:lnTo>
                    <a:pt x="421" y="180"/>
                  </a:lnTo>
                  <a:lnTo>
                    <a:pt x="423" y="169"/>
                  </a:lnTo>
                  <a:lnTo>
                    <a:pt x="424" y="157"/>
                  </a:lnTo>
                  <a:lnTo>
                    <a:pt x="423" y="145"/>
                  </a:lnTo>
                  <a:lnTo>
                    <a:pt x="421" y="134"/>
                  </a:lnTo>
                  <a:lnTo>
                    <a:pt x="417" y="124"/>
                  </a:lnTo>
                  <a:lnTo>
                    <a:pt x="412" y="114"/>
                  </a:lnTo>
                  <a:lnTo>
                    <a:pt x="406" y="105"/>
                  </a:lnTo>
                  <a:lnTo>
                    <a:pt x="399" y="96"/>
                  </a:lnTo>
                  <a:lnTo>
                    <a:pt x="391" y="89"/>
                  </a:lnTo>
                  <a:lnTo>
                    <a:pt x="381" y="83"/>
                  </a:lnTo>
                  <a:lnTo>
                    <a:pt x="371" y="78"/>
                  </a:lnTo>
                  <a:lnTo>
                    <a:pt x="361" y="74"/>
                  </a:lnTo>
                  <a:lnTo>
                    <a:pt x="350" y="72"/>
                  </a:lnTo>
                  <a:lnTo>
                    <a:pt x="338" y="71"/>
                  </a:lnTo>
                  <a:lnTo>
                    <a:pt x="326" y="72"/>
                  </a:lnTo>
                  <a:lnTo>
                    <a:pt x="315" y="74"/>
                  </a:lnTo>
                  <a:lnTo>
                    <a:pt x="305" y="78"/>
                  </a:lnTo>
                  <a:lnTo>
                    <a:pt x="295" y="83"/>
                  </a:lnTo>
                  <a:lnTo>
                    <a:pt x="286" y="89"/>
                  </a:lnTo>
                  <a:lnTo>
                    <a:pt x="277" y="96"/>
                  </a:lnTo>
                  <a:lnTo>
                    <a:pt x="270" y="105"/>
                  </a:lnTo>
                  <a:lnTo>
                    <a:pt x="264" y="114"/>
                  </a:lnTo>
                  <a:lnTo>
                    <a:pt x="259" y="124"/>
                  </a:lnTo>
                  <a:lnTo>
                    <a:pt x="256" y="134"/>
                  </a:lnTo>
                  <a:lnTo>
                    <a:pt x="253" y="145"/>
                  </a:lnTo>
                  <a:lnTo>
                    <a:pt x="252" y="157"/>
                  </a:lnTo>
                  <a:lnTo>
                    <a:pt x="252" y="157"/>
                  </a:lnTo>
                  <a:close/>
                  <a:moveTo>
                    <a:pt x="181" y="170"/>
                  </a:moveTo>
                  <a:lnTo>
                    <a:pt x="181" y="170"/>
                  </a:lnTo>
                  <a:lnTo>
                    <a:pt x="180" y="157"/>
                  </a:lnTo>
                  <a:lnTo>
                    <a:pt x="181" y="147"/>
                  </a:lnTo>
                  <a:lnTo>
                    <a:pt x="183" y="136"/>
                  </a:lnTo>
                  <a:lnTo>
                    <a:pt x="185" y="125"/>
                  </a:lnTo>
                  <a:lnTo>
                    <a:pt x="190" y="113"/>
                  </a:lnTo>
                  <a:lnTo>
                    <a:pt x="194" y="102"/>
                  </a:lnTo>
                  <a:lnTo>
                    <a:pt x="200" y="91"/>
                  </a:lnTo>
                  <a:lnTo>
                    <a:pt x="207" y="80"/>
                  </a:lnTo>
                  <a:lnTo>
                    <a:pt x="214" y="69"/>
                  </a:lnTo>
                  <a:lnTo>
                    <a:pt x="222" y="59"/>
                  </a:lnTo>
                  <a:lnTo>
                    <a:pt x="231" y="49"/>
                  </a:lnTo>
                  <a:lnTo>
                    <a:pt x="241" y="40"/>
                  </a:lnTo>
                  <a:lnTo>
                    <a:pt x="251" y="31"/>
                  </a:lnTo>
                  <a:lnTo>
                    <a:pt x="262" y="23"/>
                  </a:lnTo>
                  <a:lnTo>
                    <a:pt x="274" y="16"/>
                  </a:lnTo>
                  <a:lnTo>
                    <a:pt x="286" y="11"/>
                  </a:lnTo>
                  <a:lnTo>
                    <a:pt x="298" y="7"/>
                  </a:lnTo>
                  <a:lnTo>
                    <a:pt x="311" y="3"/>
                  </a:lnTo>
                  <a:lnTo>
                    <a:pt x="325" y="1"/>
                  </a:lnTo>
                  <a:lnTo>
                    <a:pt x="338" y="0"/>
                  </a:lnTo>
                  <a:lnTo>
                    <a:pt x="352" y="1"/>
                  </a:lnTo>
                  <a:lnTo>
                    <a:pt x="365" y="3"/>
                  </a:lnTo>
                  <a:lnTo>
                    <a:pt x="378" y="7"/>
                  </a:lnTo>
                  <a:lnTo>
                    <a:pt x="390" y="11"/>
                  </a:lnTo>
                  <a:lnTo>
                    <a:pt x="402" y="16"/>
                  </a:lnTo>
                  <a:lnTo>
                    <a:pt x="414" y="23"/>
                  </a:lnTo>
                  <a:lnTo>
                    <a:pt x="425" y="31"/>
                  </a:lnTo>
                  <a:lnTo>
                    <a:pt x="435" y="40"/>
                  </a:lnTo>
                  <a:lnTo>
                    <a:pt x="445" y="49"/>
                  </a:lnTo>
                  <a:lnTo>
                    <a:pt x="454" y="59"/>
                  </a:lnTo>
                  <a:lnTo>
                    <a:pt x="462" y="69"/>
                  </a:lnTo>
                  <a:lnTo>
                    <a:pt x="470" y="80"/>
                  </a:lnTo>
                  <a:lnTo>
                    <a:pt x="476" y="91"/>
                  </a:lnTo>
                  <a:lnTo>
                    <a:pt x="482" y="102"/>
                  </a:lnTo>
                  <a:lnTo>
                    <a:pt x="487" y="113"/>
                  </a:lnTo>
                  <a:lnTo>
                    <a:pt x="491" y="125"/>
                  </a:lnTo>
                  <a:lnTo>
                    <a:pt x="493" y="136"/>
                  </a:lnTo>
                  <a:lnTo>
                    <a:pt x="495" y="147"/>
                  </a:lnTo>
                  <a:lnTo>
                    <a:pt x="496" y="157"/>
                  </a:lnTo>
                  <a:lnTo>
                    <a:pt x="495" y="170"/>
                  </a:lnTo>
                  <a:lnTo>
                    <a:pt x="495" y="182"/>
                  </a:lnTo>
                  <a:lnTo>
                    <a:pt x="493" y="192"/>
                  </a:lnTo>
                  <a:lnTo>
                    <a:pt x="492" y="202"/>
                  </a:lnTo>
                  <a:lnTo>
                    <a:pt x="489" y="210"/>
                  </a:lnTo>
                  <a:lnTo>
                    <a:pt x="487" y="218"/>
                  </a:lnTo>
                  <a:lnTo>
                    <a:pt x="484" y="225"/>
                  </a:lnTo>
                  <a:lnTo>
                    <a:pt x="480" y="232"/>
                  </a:lnTo>
                  <a:lnTo>
                    <a:pt x="477" y="238"/>
                  </a:lnTo>
                  <a:lnTo>
                    <a:pt x="472" y="244"/>
                  </a:lnTo>
                  <a:lnTo>
                    <a:pt x="467" y="249"/>
                  </a:lnTo>
                  <a:lnTo>
                    <a:pt x="462" y="255"/>
                  </a:lnTo>
                  <a:lnTo>
                    <a:pt x="457" y="261"/>
                  </a:lnTo>
                  <a:lnTo>
                    <a:pt x="451" y="267"/>
                  </a:lnTo>
                  <a:lnTo>
                    <a:pt x="435" y="288"/>
                  </a:lnTo>
                  <a:lnTo>
                    <a:pt x="421" y="309"/>
                  </a:lnTo>
                  <a:lnTo>
                    <a:pt x="408" y="331"/>
                  </a:lnTo>
                  <a:lnTo>
                    <a:pt x="396" y="352"/>
                  </a:lnTo>
                  <a:lnTo>
                    <a:pt x="386" y="373"/>
                  </a:lnTo>
                  <a:lnTo>
                    <a:pt x="376" y="395"/>
                  </a:lnTo>
                  <a:lnTo>
                    <a:pt x="368" y="417"/>
                  </a:lnTo>
                  <a:lnTo>
                    <a:pt x="360" y="439"/>
                  </a:lnTo>
                  <a:lnTo>
                    <a:pt x="352" y="460"/>
                  </a:lnTo>
                  <a:lnTo>
                    <a:pt x="345" y="482"/>
                  </a:lnTo>
                  <a:lnTo>
                    <a:pt x="338" y="504"/>
                  </a:lnTo>
                  <a:lnTo>
                    <a:pt x="333" y="491"/>
                  </a:lnTo>
                  <a:lnTo>
                    <a:pt x="328" y="477"/>
                  </a:lnTo>
                  <a:lnTo>
                    <a:pt x="323" y="462"/>
                  </a:lnTo>
                  <a:lnTo>
                    <a:pt x="318" y="447"/>
                  </a:lnTo>
                  <a:lnTo>
                    <a:pt x="312" y="431"/>
                  </a:lnTo>
                  <a:lnTo>
                    <a:pt x="307" y="415"/>
                  </a:lnTo>
                  <a:lnTo>
                    <a:pt x="301" y="398"/>
                  </a:lnTo>
                  <a:lnTo>
                    <a:pt x="294" y="382"/>
                  </a:lnTo>
                  <a:lnTo>
                    <a:pt x="287" y="365"/>
                  </a:lnTo>
                  <a:lnTo>
                    <a:pt x="279" y="348"/>
                  </a:lnTo>
                  <a:lnTo>
                    <a:pt x="270" y="331"/>
                  </a:lnTo>
                  <a:lnTo>
                    <a:pt x="261" y="314"/>
                  </a:lnTo>
                  <a:lnTo>
                    <a:pt x="250" y="298"/>
                  </a:lnTo>
                  <a:lnTo>
                    <a:pt x="238" y="282"/>
                  </a:lnTo>
                  <a:lnTo>
                    <a:pt x="225" y="267"/>
                  </a:lnTo>
                  <a:lnTo>
                    <a:pt x="219" y="261"/>
                  </a:lnTo>
                  <a:lnTo>
                    <a:pt x="214" y="255"/>
                  </a:lnTo>
                  <a:lnTo>
                    <a:pt x="209" y="249"/>
                  </a:lnTo>
                  <a:lnTo>
                    <a:pt x="204" y="244"/>
                  </a:lnTo>
                  <a:lnTo>
                    <a:pt x="200" y="238"/>
                  </a:lnTo>
                  <a:lnTo>
                    <a:pt x="196" y="232"/>
                  </a:lnTo>
                  <a:lnTo>
                    <a:pt x="192" y="225"/>
                  </a:lnTo>
                  <a:lnTo>
                    <a:pt x="189" y="218"/>
                  </a:lnTo>
                  <a:lnTo>
                    <a:pt x="187" y="210"/>
                  </a:lnTo>
                  <a:lnTo>
                    <a:pt x="185" y="202"/>
                  </a:lnTo>
                  <a:lnTo>
                    <a:pt x="183" y="192"/>
                  </a:lnTo>
                  <a:lnTo>
                    <a:pt x="182" y="182"/>
                  </a:lnTo>
                  <a:lnTo>
                    <a:pt x="181" y="170"/>
                  </a:lnTo>
                  <a:lnTo>
                    <a:pt x="181" y="170"/>
                  </a:lnTo>
                  <a:close/>
                  <a:moveTo>
                    <a:pt x="334" y="585"/>
                  </a:moveTo>
                  <a:lnTo>
                    <a:pt x="334" y="585"/>
                  </a:lnTo>
                  <a:lnTo>
                    <a:pt x="318" y="584"/>
                  </a:lnTo>
                  <a:lnTo>
                    <a:pt x="302" y="583"/>
                  </a:lnTo>
                  <a:lnTo>
                    <a:pt x="286" y="584"/>
                  </a:lnTo>
                  <a:lnTo>
                    <a:pt x="282" y="584"/>
                  </a:lnTo>
                  <a:lnTo>
                    <a:pt x="284" y="619"/>
                  </a:lnTo>
                  <a:lnTo>
                    <a:pt x="286" y="619"/>
                  </a:lnTo>
                  <a:lnTo>
                    <a:pt x="301" y="619"/>
                  </a:lnTo>
                  <a:lnTo>
                    <a:pt x="316" y="619"/>
                  </a:lnTo>
                  <a:lnTo>
                    <a:pt x="331" y="620"/>
                  </a:lnTo>
                  <a:lnTo>
                    <a:pt x="346" y="622"/>
                  </a:lnTo>
                  <a:lnTo>
                    <a:pt x="349" y="622"/>
                  </a:lnTo>
                  <a:lnTo>
                    <a:pt x="349" y="622"/>
                  </a:lnTo>
                  <a:lnTo>
                    <a:pt x="354" y="587"/>
                  </a:lnTo>
                  <a:lnTo>
                    <a:pt x="353" y="587"/>
                  </a:lnTo>
                  <a:lnTo>
                    <a:pt x="350" y="587"/>
                  </a:lnTo>
                  <a:lnTo>
                    <a:pt x="334" y="585"/>
                  </a:lnTo>
                  <a:lnTo>
                    <a:pt x="334" y="585"/>
                  </a:lnTo>
                  <a:close/>
                  <a:moveTo>
                    <a:pt x="382" y="628"/>
                  </a:moveTo>
                  <a:lnTo>
                    <a:pt x="382" y="628"/>
                  </a:lnTo>
                  <a:lnTo>
                    <a:pt x="389" y="593"/>
                  </a:lnTo>
                  <a:lnTo>
                    <a:pt x="389" y="593"/>
                  </a:lnTo>
                  <a:lnTo>
                    <a:pt x="392" y="594"/>
                  </a:lnTo>
                  <a:lnTo>
                    <a:pt x="414" y="599"/>
                  </a:lnTo>
                  <a:lnTo>
                    <a:pt x="435" y="604"/>
                  </a:lnTo>
                  <a:lnTo>
                    <a:pt x="456" y="611"/>
                  </a:lnTo>
                  <a:lnTo>
                    <a:pt x="457" y="611"/>
                  </a:lnTo>
                  <a:lnTo>
                    <a:pt x="457" y="612"/>
                  </a:lnTo>
                  <a:lnTo>
                    <a:pt x="446" y="645"/>
                  </a:lnTo>
                  <a:lnTo>
                    <a:pt x="445" y="645"/>
                  </a:lnTo>
                  <a:lnTo>
                    <a:pt x="444" y="644"/>
                  </a:lnTo>
                  <a:lnTo>
                    <a:pt x="443" y="644"/>
                  </a:lnTo>
                  <a:lnTo>
                    <a:pt x="442" y="644"/>
                  </a:lnTo>
                  <a:lnTo>
                    <a:pt x="441" y="643"/>
                  </a:lnTo>
                  <a:lnTo>
                    <a:pt x="423" y="638"/>
                  </a:lnTo>
                  <a:lnTo>
                    <a:pt x="405" y="633"/>
                  </a:lnTo>
                  <a:lnTo>
                    <a:pt x="385" y="629"/>
                  </a:lnTo>
                  <a:lnTo>
                    <a:pt x="383" y="628"/>
                  </a:lnTo>
                  <a:lnTo>
                    <a:pt x="382" y="628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15937" y="908720"/>
            <a:ext cx="11196687" cy="677491"/>
          </a:xfrm>
        </p:spPr>
        <p:txBody>
          <a:bodyPr/>
          <a:lstStyle/>
          <a:p>
            <a:r>
              <a:rPr lang="ru-RU" dirty="0" err="1"/>
              <a:t>Даунлайты</a:t>
            </a:r>
            <a:r>
              <a:rPr lang="ru-RU" dirty="0"/>
              <a:t> </a:t>
            </a:r>
            <a:r>
              <a:rPr lang="en-US" dirty="0"/>
              <a:t>LEDVANCE DL IP20 </a:t>
            </a:r>
            <a:endParaRPr lang="en-US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503114" y="1860079"/>
            <a:ext cx="2640558" cy="2728367"/>
            <a:chOff x="503114" y="1860079"/>
            <a:chExt cx="2640558" cy="2728367"/>
          </a:xfrm>
        </p:grpSpPr>
        <p:sp>
          <p:nvSpPr>
            <p:cNvPr id="3" name="Textfeld 2"/>
            <p:cNvSpPr txBox="1"/>
            <p:nvPr/>
          </p:nvSpPr>
          <p:spPr>
            <a:xfrm>
              <a:off x="503114" y="2295511"/>
              <a:ext cx="2640558" cy="2292935"/>
            </a:xfrm>
            <a:prstGeom prst="rect">
              <a:avLst/>
            </a:prstGeom>
            <a:noFill/>
          </p:spPr>
          <p:txBody>
            <a:bodyPr wrap="square" rIns="0" rtlCol="0">
              <a:spAutoFit/>
            </a:bodyPr>
            <a:lstStyle/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1200" dirty="0"/>
                <a:t>Базовый встраиваемый </a:t>
              </a:r>
              <a:r>
                <a:rPr lang="ru-RU" sz="1200" dirty="0" err="1"/>
                <a:t>даунлайт</a:t>
              </a:r>
              <a:endParaRPr lang="en-US" sz="1200" dirty="0"/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1200" dirty="0"/>
                <a:t>Соответствие всем ТР</a:t>
              </a:r>
              <a:r>
                <a:rPr lang="en-US" sz="1200" dirty="0"/>
                <a:t>/</a:t>
              </a:r>
              <a:r>
                <a:rPr lang="ru-RU" sz="1200" dirty="0"/>
                <a:t>ТС</a:t>
              </a:r>
              <a:endParaRPr lang="en-US" sz="1200" dirty="0"/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1200" dirty="0"/>
                <a:t>Полипропиленовый корпус</a:t>
              </a:r>
              <a:endParaRPr lang="ru-RU" sz="1200" dirty="0"/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1200" dirty="0"/>
                <a:t>Антикризисный вариант</a:t>
              </a:r>
              <a:endParaRPr lang="en-US" sz="1200" dirty="0"/>
            </a:p>
            <a:p>
              <a:pPr>
                <a:spcAft>
                  <a:spcPts val="600"/>
                </a:spcAft>
              </a:pPr>
              <a:endParaRPr lang="en-US" sz="1200" dirty="0"/>
            </a:p>
            <a:p>
              <a:pPr>
                <a:spcAft>
                  <a:spcPts val="600"/>
                </a:spcAft>
              </a:pPr>
              <a:endParaRPr lang="en-US" sz="1200" dirty="0"/>
            </a:p>
            <a:p>
              <a:pPr>
                <a:spcAft>
                  <a:spcPts val="600"/>
                </a:spcAft>
              </a:pPr>
              <a:endParaRPr lang="en-US" sz="1200" dirty="0"/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US" sz="1200" dirty="0"/>
            </a:p>
          </p:txBody>
        </p:sp>
        <p:grpSp>
          <p:nvGrpSpPr>
            <p:cNvPr id="12" name="Gruppieren 11"/>
            <p:cNvGrpSpPr/>
            <p:nvPr/>
          </p:nvGrpSpPr>
          <p:grpSpPr>
            <a:xfrm>
              <a:off x="503114" y="1860079"/>
              <a:ext cx="2640558" cy="360000"/>
              <a:chOff x="503114" y="1860079"/>
              <a:chExt cx="2640558" cy="360000"/>
            </a:xfrm>
          </p:grpSpPr>
          <p:grpSp>
            <p:nvGrpSpPr>
              <p:cNvPr id="7" name="Gruppieren 6"/>
              <p:cNvGrpSpPr/>
              <p:nvPr/>
            </p:nvGrpSpPr>
            <p:grpSpPr>
              <a:xfrm>
                <a:off x="503114" y="1860079"/>
                <a:ext cx="2640558" cy="360000"/>
                <a:chOff x="426036" y="1860079"/>
                <a:chExt cx="2640558" cy="360000"/>
              </a:xfrm>
            </p:grpSpPr>
            <p:sp>
              <p:nvSpPr>
                <p:cNvPr id="8" name="AutoShape 3"/>
                <p:cNvSpPr>
                  <a:spLocks noChangeArrowheads="1"/>
                </p:cNvSpPr>
                <p:nvPr/>
              </p:nvSpPr>
              <p:spPr bwMode="auto">
                <a:xfrm>
                  <a:off x="504136" y="1886363"/>
                  <a:ext cx="2562458" cy="307433"/>
                </a:xfrm>
                <a:prstGeom prst="roundRect">
                  <a:avLst>
                    <a:gd name="adj" fmla="val 0"/>
                  </a:avLst>
                </a:prstGeom>
                <a:solidFill>
                  <a:srgbClr val="FF6600"/>
                </a:solidFill>
                <a:ln w="0" algn="ctr">
                  <a:noFill/>
                  <a:round/>
                </a:ln>
                <a:effectLst/>
              </p:spPr>
              <p:txBody>
                <a:bodyPr lIns="360000" tIns="0" rIns="36000" bIns="0" anchor="ctr"/>
                <a:lstStyle/>
                <a:p>
                  <a:pPr defTabSz="762000" eaLnBrk="0" hangingPunct="0">
                    <a:lnSpc>
                      <a:spcPct val="90000"/>
                    </a:lnSpc>
                    <a:buClr>
                      <a:srgbClr val="BFBFBF"/>
                    </a:buClr>
                  </a:pPr>
                  <a:r>
                    <a:rPr lang="ru-RU" altLang="zh-CN" b="1" dirty="0">
                      <a:solidFill>
                        <a:srgbClr val="FFFFFF"/>
                      </a:solidFill>
                      <a:latin typeface="Calibri" panose="020F0502020204030204" pitchFamily="34" charset="0"/>
                    </a:rPr>
                    <a:t>Описание</a:t>
                  </a:r>
                  <a:endParaRPr lang="en-US" altLang="zh-CN" b="1" dirty="0">
                    <a:solidFill>
                      <a:srgbClr val="FFFFFF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8" name="AutoShape 3"/>
                <p:cNvSpPr>
                  <a:spLocks noChangeArrowheads="1"/>
                </p:cNvSpPr>
                <p:nvPr/>
              </p:nvSpPr>
              <p:spPr bwMode="auto">
                <a:xfrm>
                  <a:off x="426036" y="1860079"/>
                  <a:ext cx="360000" cy="360000"/>
                </a:xfrm>
                <a:prstGeom prst="ellipse">
                  <a:avLst/>
                </a:prstGeom>
                <a:solidFill>
                  <a:schemeClr val="bg1"/>
                </a:solidFill>
                <a:ln w="0" algn="ctr">
                  <a:solidFill>
                    <a:schemeClr val="accent1"/>
                  </a:solidFill>
                  <a:round/>
                </a:ln>
                <a:effectLst/>
              </p:spPr>
              <p:txBody>
                <a:bodyPr wrap="none" lIns="0" tIns="36000" rIns="0" bIns="36000" anchor="ctr">
                  <a:noAutofit/>
                </a:bodyPr>
                <a:lstStyle/>
                <a:p>
                  <a:pPr algn="ctr" defTabSz="762000" eaLnBrk="0" hangingPunct="0">
                    <a:lnSpc>
                      <a:spcPct val="90000"/>
                    </a:lnSpc>
                    <a:buClr>
                      <a:srgbClr val="BFBFBF"/>
                    </a:buClr>
                  </a:pPr>
                  <a:r>
                    <a:rPr lang="en-US" altLang="zh-CN" sz="1600" b="1" dirty="0">
                      <a:solidFill>
                        <a:schemeClr val="accent1"/>
                      </a:solidFill>
                      <a:latin typeface="Calibri" panose="020F0502020204030204" pitchFamily="34" charset="0"/>
                    </a:rPr>
                    <a:t> 1.</a:t>
                  </a:r>
                  <a:endParaRPr lang="en-US" altLang="zh-CN" sz="1600" b="1" dirty="0">
                    <a:solidFill>
                      <a:schemeClr val="accent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sp>
            <p:nvSpPr>
              <p:cNvPr id="43" name="Freeform 278"/>
              <p:cNvSpPr>
                <a:spLocks noChangeAspect="1" noEditPoints="1"/>
              </p:cNvSpPr>
              <p:nvPr/>
            </p:nvSpPr>
            <p:spPr bwMode="auto">
              <a:xfrm>
                <a:off x="2893113" y="1905079"/>
                <a:ext cx="233307" cy="270000"/>
              </a:xfrm>
              <a:custGeom>
                <a:avLst/>
                <a:gdLst>
                  <a:gd name="T0" fmla="*/ 2997 w 5074"/>
                  <a:gd name="T1" fmla="*/ 4626 h 5872"/>
                  <a:gd name="T2" fmla="*/ 3300 w 5074"/>
                  <a:gd name="T3" fmla="*/ 3685 h 5872"/>
                  <a:gd name="T4" fmla="*/ 3300 w 5074"/>
                  <a:gd name="T5" fmla="*/ 3685 h 5872"/>
                  <a:gd name="T6" fmla="*/ 3002 w 5074"/>
                  <a:gd name="T7" fmla="*/ 3673 h 5872"/>
                  <a:gd name="T8" fmla="*/ 915 w 5074"/>
                  <a:gd name="T9" fmla="*/ 2422 h 5872"/>
                  <a:gd name="T10" fmla="*/ 915 w 5074"/>
                  <a:gd name="T11" fmla="*/ 2719 h 5872"/>
                  <a:gd name="T12" fmla="*/ 4766 w 5074"/>
                  <a:gd name="T13" fmla="*/ 2803 h 5872"/>
                  <a:gd name="T14" fmla="*/ 4085 w 5074"/>
                  <a:gd name="T15" fmla="*/ 2384 h 5872"/>
                  <a:gd name="T16" fmla="*/ 3638 w 5074"/>
                  <a:gd name="T17" fmla="*/ 2874 h 5872"/>
                  <a:gd name="T18" fmla="*/ 4677 w 5074"/>
                  <a:gd name="T19" fmla="*/ 1810 h 5872"/>
                  <a:gd name="T20" fmla="*/ 4834 w 5074"/>
                  <a:gd name="T21" fmla="*/ 1861 h 5872"/>
                  <a:gd name="T22" fmla="*/ 4992 w 5074"/>
                  <a:gd name="T23" fmla="*/ 1979 h 5872"/>
                  <a:gd name="T24" fmla="*/ 5065 w 5074"/>
                  <a:gd name="T25" fmla="*/ 2123 h 5872"/>
                  <a:gd name="T26" fmla="*/ 5065 w 5074"/>
                  <a:gd name="T27" fmla="*/ 2283 h 5872"/>
                  <a:gd name="T28" fmla="*/ 4852 w 5074"/>
                  <a:gd name="T29" fmla="*/ 2666 h 5872"/>
                  <a:gd name="T30" fmla="*/ 4337 w 5074"/>
                  <a:gd name="T31" fmla="*/ 2349 h 5872"/>
                  <a:gd name="T32" fmla="*/ 4355 w 5074"/>
                  <a:gd name="T33" fmla="*/ 1975 h 5872"/>
                  <a:gd name="T34" fmla="*/ 4471 w 5074"/>
                  <a:gd name="T35" fmla="*/ 1859 h 5872"/>
                  <a:gd name="T36" fmla="*/ 4624 w 5074"/>
                  <a:gd name="T37" fmla="*/ 1810 h 5872"/>
                  <a:gd name="T38" fmla="*/ 3011 w 5074"/>
                  <a:gd name="T39" fmla="*/ 1093 h 5872"/>
                  <a:gd name="T40" fmla="*/ 3054 w 5074"/>
                  <a:gd name="T41" fmla="*/ 1288 h 5872"/>
                  <a:gd name="T42" fmla="*/ 3172 w 5074"/>
                  <a:gd name="T43" fmla="*/ 1443 h 5872"/>
                  <a:gd name="T44" fmla="*/ 3342 w 5074"/>
                  <a:gd name="T45" fmla="*/ 1537 h 5872"/>
                  <a:gd name="T46" fmla="*/ 3860 w 5074"/>
                  <a:gd name="T47" fmla="*/ 1557 h 5872"/>
                  <a:gd name="T48" fmla="*/ 881 w 5074"/>
                  <a:gd name="T49" fmla="*/ 0 h 5872"/>
                  <a:gd name="T50" fmla="*/ 4476 w 5074"/>
                  <a:gd name="T51" fmla="*/ 1673 h 5872"/>
                  <a:gd name="T52" fmla="*/ 4300 w 5074"/>
                  <a:gd name="T53" fmla="*/ 1779 h 5872"/>
                  <a:gd name="T54" fmla="*/ 4154 w 5074"/>
                  <a:gd name="T55" fmla="*/ 1982 h 5872"/>
                  <a:gd name="T56" fmla="*/ 3382 w 5074"/>
                  <a:gd name="T57" fmla="*/ 1968 h 5872"/>
                  <a:gd name="T58" fmla="*/ 3113 w 5074"/>
                  <a:gd name="T59" fmla="*/ 1893 h 5872"/>
                  <a:gd name="T60" fmla="*/ 2887 w 5074"/>
                  <a:gd name="T61" fmla="*/ 1746 h 5872"/>
                  <a:gd name="T62" fmla="*/ 2716 w 5074"/>
                  <a:gd name="T63" fmla="*/ 1536 h 5872"/>
                  <a:gd name="T64" fmla="*/ 2616 w 5074"/>
                  <a:gd name="T65" fmla="*/ 1281 h 5872"/>
                  <a:gd name="T66" fmla="*/ 2597 w 5074"/>
                  <a:gd name="T67" fmla="*/ 416 h 5872"/>
                  <a:gd name="T68" fmla="*/ 748 w 5074"/>
                  <a:gd name="T69" fmla="*/ 436 h 5872"/>
                  <a:gd name="T70" fmla="*/ 577 w 5074"/>
                  <a:gd name="T71" fmla="*/ 530 h 5872"/>
                  <a:gd name="T72" fmla="*/ 459 w 5074"/>
                  <a:gd name="T73" fmla="*/ 685 h 5872"/>
                  <a:gd name="T74" fmla="*/ 417 w 5074"/>
                  <a:gd name="T75" fmla="*/ 881 h 5872"/>
                  <a:gd name="T76" fmla="*/ 436 w 5074"/>
                  <a:gd name="T77" fmla="*/ 5125 h 5872"/>
                  <a:gd name="T78" fmla="*/ 531 w 5074"/>
                  <a:gd name="T79" fmla="*/ 5297 h 5872"/>
                  <a:gd name="T80" fmla="*/ 685 w 5074"/>
                  <a:gd name="T81" fmla="*/ 5413 h 5872"/>
                  <a:gd name="T82" fmla="*/ 881 w 5074"/>
                  <a:gd name="T83" fmla="*/ 5457 h 5872"/>
                  <a:gd name="T84" fmla="*/ 3821 w 5074"/>
                  <a:gd name="T85" fmla="*/ 5438 h 5872"/>
                  <a:gd name="T86" fmla="*/ 3992 w 5074"/>
                  <a:gd name="T87" fmla="*/ 5342 h 5872"/>
                  <a:gd name="T88" fmla="*/ 4109 w 5074"/>
                  <a:gd name="T89" fmla="*/ 5187 h 5872"/>
                  <a:gd name="T90" fmla="*/ 4154 w 5074"/>
                  <a:gd name="T91" fmla="*/ 4991 h 5872"/>
                  <a:gd name="T92" fmla="*/ 4569 w 5074"/>
                  <a:gd name="T93" fmla="*/ 3468 h 5872"/>
                  <a:gd name="T94" fmla="*/ 4547 w 5074"/>
                  <a:gd name="T95" fmla="*/ 5180 h 5872"/>
                  <a:gd name="T96" fmla="*/ 4448 w 5074"/>
                  <a:gd name="T97" fmla="*/ 5436 h 5872"/>
                  <a:gd name="T98" fmla="*/ 4277 w 5074"/>
                  <a:gd name="T99" fmla="*/ 5644 h 5872"/>
                  <a:gd name="T100" fmla="*/ 4051 w 5074"/>
                  <a:gd name="T101" fmla="*/ 5794 h 5872"/>
                  <a:gd name="T102" fmla="*/ 3784 w 5074"/>
                  <a:gd name="T103" fmla="*/ 5867 h 5872"/>
                  <a:gd name="T104" fmla="*/ 785 w 5074"/>
                  <a:gd name="T105" fmla="*/ 5867 h 5872"/>
                  <a:gd name="T106" fmla="*/ 518 w 5074"/>
                  <a:gd name="T107" fmla="*/ 5794 h 5872"/>
                  <a:gd name="T108" fmla="*/ 292 w 5074"/>
                  <a:gd name="T109" fmla="*/ 5644 h 5872"/>
                  <a:gd name="T110" fmla="*/ 121 w 5074"/>
                  <a:gd name="T111" fmla="*/ 5436 h 5872"/>
                  <a:gd name="T112" fmla="*/ 22 w 5074"/>
                  <a:gd name="T113" fmla="*/ 5180 h 5872"/>
                  <a:gd name="T114" fmla="*/ 0 w 5074"/>
                  <a:gd name="T115" fmla="*/ 881 h 5872"/>
                  <a:gd name="T116" fmla="*/ 46 w 5074"/>
                  <a:gd name="T117" fmla="*/ 603 h 5872"/>
                  <a:gd name="T118" fmla="*/ 171 w 5074"/>
                  <a:gd name="T119" fmla="*/ 361 h 5872"/>
                  <a:gd name="T120" fmla="*/ 361 w 5074"/>
                  <a:gd name="T121" fmla="*/ 171 h 5872"/>
                  <a:gd name="T122" fmla="*/ 604 w 5074"/>
                  <a:gd name="T123" fmla="*/ 46 h 5872"/>
                  <a:gd name="T124" fmla="*/ 881 w 5074"/>
                  <a:gd name="T125" fmla="*/ 0 h 5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074" h="5872">
                    <a:moveTo>
                      <a:pt x="2088" y="4329"/>
                    </a:moveTo>
                    <a:lnTo>
                      <a:pt x="2999" y="4329"/>
                    </a:lnTo>
                    <a:lnTo>
                      <a:pt x="2997" y="4626"/>
                    </a:lnTo>
                    <a:lnTo>
                      <a:pt x="2088" y="4626"/>
                    </a:lnTo>
                    <a:lnTo>
                      <a:pt x="2088" y="4329"/>
                    </a:lnTo>
                    <a:close/>
                    <a:moveTo>
                      <a:pt x="3300" y="3685"/>
                    </a:moveTo>
                    <a:lnTo>
                      <a:pt x="3980" y="4103"/>
                    </a:lnTo>
                    <a:lnTo>
                      <a:pt x="3200" y="4596"/>
                    </a:lnTo>
                    <a:lnTo>
                      <a:pt x="3300" y="3685"/>
                    </a:lnTo>
                    <a:close/>
                    <a:moveTo>
                      <a:pt x="915" y="3376"/>
                    </a:moveTo>
                    <a:lnTo>
                      <a:pt x="3004" y="3376"/>
                    </a:lnTo>
                    <a:lnTo>
                      <a:pt x="3002" y="3673"/>
                    </a:lnTo>
                    <a:lnTo>
                      <a:pt x="915" y="3673"/>
                    </a:lnTo>
                    <a:lnTo>
                      <a:pt x="915" y="3376"/>
                    </a:lnTo>
                    <a:close/>
                    <a:moveTo>
                      <a:pt x="915" y="2422"/>
                    </a:moveTo>
                    <a:lnTo>
                      <a:pt x="3259" y="2422"/>
                    </a:lnTo>
                    <a:lnTo>
                      <a:pt x="3259" y="2719"/>
                    </a:lnTo>
                    <a:lnTo>
                      <a:pt x="915" y="2719"/>
                    </a:lnTo>
                    <a:lnTo>
                      <a:pt x="915" y="2422"/>
                    </a:lnTo>
                    <a:close/>
                    <a:moveTo>
                      <a:pt x="4085" y="2384"/>
                    </a:moveTo>
                    <a:lnTo>
                      <a:pt x="4766" y="2803"/>
                    </a:lnTo>
                    <a:lnTo>
                      <a:pt x="4076" y="3961"/>
                    </a:lnTo>
                    <a:lnTo>
                      <a:pt x="3394" y="3539"/>
                    </a:lnTo>
                    <a:lnTo>
                      <a:pt x="4085" y="2384"/>
                    </a:lnTo>
                    <a:close/>
                    <a:moveTo>
                      <a:pt x="3819" y="2221"/>
                    </a:moveTo>
                    <a:lnTo>
                      <a:pt x="3971" y="2315"/>
                    </a:lnTo>
                    <a:lnTo>
                      <a:pt x="3638" y="2874"/>
                    </a:lnTo>
                    <a:lnTo>
                      <a:pt x="3488" y="2778"/>
                    </a:lnTo>
                    <a:lnTo>
                      <a:pt x="3819" y="2221"/>
                    </a:lnTo>
                    <a:close/>
                    <a:moveTo>
                      <a:pt x="4677" y="1810"/>
                    </a:moveTo>
                    <a:lnTo>
                      <a:pt x="4731" y="1819"/>
                    </a:lnTo>
                    <a:lnTo>
                      <a:pt x="4784" y="1835"/>
                    </a:lnTo>
                    <a:lnTo>
                      <a:pt x="4834" y="1861"/>
                    </a:lnTo>
                    <a:lnTo>
                      <a:pt x="4908" y="1908"/>
                    </a:lnTo>
                    <a:lnTo>
                      <a:pt x="4955" y="1940"/>
                    </a:lnTo>
                    <a:lnTo>
                      <a:pt x="4992" y="1979"/>
                    </a:lnTo>
                    <a:lnTo>
                      <a:pt x="5024" y="2023"/>
                    </a:lnTo>
                    <a:lnTo>
                      <a:pt x="5049" y="2071"/>
                    </a:lnTo>
                    <a:lnTo>
                      <a:pt x="5065" y="2123"/>
                    </a:lnTo>
                    <a:lnTo>
                      <a:pt x="5074" y="2176"/>
                    </a:lnTo>
                    <a:lnTo>
                      <a:pt x="5074" y="2230"/>
                    </a:lnTo>
                    <a:lnTo>
                      <a:pt x="5065" y="2283"/>
                    </a:lnTo>
                    <a:lnTo>
                      <a:pt x="5049" y="2336"/>
                    </a:lnTo>
                    <a:lnTo>
                      <a:pt x="5022" y="2386"/>
                    </a:lnTo>
                    <a:lnTo>
                      <a:pt x="4852" y="2666"/>
                    </a:lnTo>
                    <a:lnTo>
                      <a:pt x="4485" y="2440"/>
                    </a:lnTo>
                    <a:lnTo>
                      <a:pt x="4453" y="2420"/>
                    </a:lnTo>
                    <a:lnTo>
                      <a:pt x="4337" y="2349"/>
                    </a:lnTo>
                    <a:lnTo>
                      <a:pt x="4307" y="2329"/>
                    </a:lnTo>
                    <a:lnTo>
                      <a:pt x="4182" y="2254"/>
                    </a:lnTo>
                    <a:lnTo>
                      <a:pt x="4355" y="1975"/>
                    </a:lnTo>
                    <a:lnTo>
                      <a:pt x="4387" y="1931"/>
                    </a:lnTo>
                    <a:lnTo>
                      <a:pt x="4428" y="1891"/>
                    </a:lnTo>
                    <a:lnTo>
                      <a:pt x="4471" y="1859"/>
                    </a:lnTo>
                    <a:lnTo>
                      <a:pt x="4519" y="1835"/>
                    </a:lnTo>
                    <a:lnTo>
                      <a:pt x="4570" y="1819"/>
                    </a:lnTo>
                    <a:lnTo>
                      <a:pt x="4624" y="1810"/>
                    </a:lnTo>
                    <a:lnTo>
                      <a:pt x="4677" y="1810"/>
                    </a:lnTo>
                    <a:close/>
                    <a:moveTo>
                      <a:pt x="3011" y="710"/>
                    </a:moveTo>
                    <a:lnTo>
                      <a:pt x="3011" y="1093"/>
                    </a:lnTo>
                    <a:lnTo>
                      <a:pt x="3017" y="1160"/>
                    </a:lnTo>
                    <a:lnTo>
                      <a:pt x="3031" y="1226"/>
                    </a:lnTo>
                    <a:lnTo>
                      <a:pt x="3054" y="1288"/>
                    </a:lnTo>
                    <a:lnTo>
                      <a:pt x="3086" y="1345"/>
                    </a:lnTo>
                    <a:lnTo>
                      <a:pt x="3125" y="1397"/>
                    </a:lnTo>
                    <a:lnTo>
                      <a:pt x="3172" y="1443"/>
                    </a:lnTo>
                    <a:lnTo>
                      <a:pt x="3223" y="1482"/>
                    </a:lnTo>
                    <a:lnTo>
                      <a:pt x="3280" y="1514"/>
                    </a:lnTo>
                    <a:lnTo>
                      <a:pt x="3342" y="1537"/>
                    </a:lnTo>
                    <a:lnTo>
                      <a:pt x="3408" y="1552"/>
                    </a:lnTo>
                    <a:lnTo>
                      <a:pt x="3478" y="1557"/>
                    </a:lnTo>
                    <a:lnTo>
                      <a:pt x="3860" y="1557"/>
                    </a:lnTo>
                    <a:lnTo>
                      <a:pt x="3435" y="1133"/>
                    </a:lnTo>
                    <a:lnTo>
                      <a:pt x="3011" y="710"/>
                    </a:lnTo>
                    <a:close/>
                    <a:moveTo>
                      <a:pt x="881" y="0"/>
                    </a:moveTo>
                    <a:lnTo>
                      <a:pt x="2889" y="0"/>
                    </a:lnTo>
                    <a:lnTo>
                      <a:pt x="4542" y="1653"/>
                    </a:lnTo>
                    <a:lnTo>
                      <a:pt x="4476" y="1673"/>
                    </a:lnTo>
                    <a:lnTo>
                      <a:pt x="4412" y="1699"/>
                    </a:lnTo>
                    <a:lnTo>
                      <a:pt x="4353" y="1735"/>
                    </a:lnTo>
                    <a:lnTo>
                      <a:pt x="4300" y="1779"/>
                    </a:lnTo>
                    <a:lnTo>
                      <a:pt x="4252" y="1829"/>
                    </a:lnTo>
                    <a:lnTo>
                      <a:pt x="4211" y="1888"/>
                    </a:lnTo>
                    <a:lnTo>
                      <a:pt x="4154" y="1982"/>
                    </a:lnTo>
                    <a:lnTo>
                      <a:pt x="4154" y="1973"/>
                    </a:lnTo>
                    <a:lnTo>
                      <a:pt x="3478" y="1973"/>
                    </a:lnTo>
                    <a:lnTo>
                      <a:pt x="3382" y="1968"/>
                    </a:lnTo>
                    <a:lnTo>
                      <a:pt x="3287" y="1952"/>
                    </a:lnTo>
                    <a:lnTo>
                      <a:pt x="3198" y="1927"/>
                    </a:lnTo>
                    <a:lnTo>
                      <a:pt x="3113" y="1893"/>
                    </a:lnTo>
                    <a:lnTo>
                      <a:pt x="3033" y="1852"/>
                    </a:lnTo>
                    <a:lnTo>
                      <a:pt x="2956" y="1803"/>
                    </a:lnTo>
                    <a:lnTo>
                      <a:pt x="2887" y="1746"/>
                    </a:lnTo>
                    <a:lnTo>
                      <a:pt x="2823" y="1682"/>
                    </a:lnTo>
                    <a:lnTo>
                      <a:pt x="2766" y="1612"/>
                    </a:lnTo>
                    <a:lnTo>
                      <a:pt x="2716" y="1536"/>
                    </a:lnTo>
                    <a:lnTo>
                      <a:pt x="2675" y="1456"/>
                    </a:lnTo>
                    <a:lnTo>
                      <a:pt x="2641" y="1370"/>
                    </a:lnTo>
                    <a:lnTo>
                      <a:pt x="2616" y="1281"/>
                    </a:lnTo>
                    <a:lnTo>
                      <a:pt x="2600" y="1187"/>
                    </a:lnTo>
                    <a:lnTo>
                      <a:pt x="2597" y="1093"/>
                    </a:lnTo>
                    <a:lnTo>
                      <a:pt x="2597" y="416"/>
                    </a:lnTo>
                    <a:lnTo>
                      <a:pt x="881" y="416"/>
                    </a:lnTo>
                    <a:lnTo>
                      <a:pt x="814" y="420"/>
                    </a:lnTo>
                    <a:lnTo>
                      <a:pt x="748" y="436"/>
                    </a:lnTo>
                    <a:lnTo>
                      <a:pt x="685" y="459"/>
                    </a:lnTo>
                    <a:lnTo>
                      <a:pt x="628" y="491"/>
                    </a:lnTo>
                    <a:lnTo>
                      <a:pt x="577" y="530"/>
                    </a:lnTo>
                    <a:lnTo>
                      <a:pt x="531" y="577"/>
                    </a:lnTo>
                    <a:lnTo>
                      <a:pt x="491" y="628"/>
                    </a:lnTo>
                    <a:lnTo>
                      <a:pt x="459" y="685"/>
                    </a:lnTo>
                    <a:lnTo>
                      <a:pt x="436" y="747"/>
                    </a:lnTo>
                    <a:lnTo>
                      <a:pt x="420" y="813"/>
                    </a:lnTo>
                    <a:lnTo>
                      <a:pt x="417" y="881"/>
                    </a:lnTo>
                    <a:lnTo>
                      <a:pt x="417" y="4991"/>
                    </a:lnTo>
                    <a:lnTo>
                      <a:pt x="420" y="5061"/>
                    </a:lnTo>
                    <a:lnTo>
                      <a:pt x="436" y="5125"/>
                    </a:lnTo>
                    <a:lnTo>
                      <a:pt x="459" y="5187"/>
                    </a:lnTo>
                    <a:lnTo>
                      <a:pt x="491" y="5244"/>
                    </a:lnTo>
                    <a:lnTo>
                      <a:pt x="531" y="5297"/>
                    </a:lnTo>
                    <a:lnTo>
                      <a:pt x="577" y="5342"/>
                    </a:lnTo>
                    <a:lnTo>
                      <a:pt x="628" y="5381"/>
                    </a:lnTo>
                    <a:lnTo>
                      <a:pt x="685" y="5413"/>
                    </a:lnTo>
                    <a:lnTo>
                      <a:pt x="748" y="5438"/>
                    </a:lnTo>
                    <a:lnTo>
                      <a:pt x="814" y="5452"/>
                    </a:lnTo>
                    <a:lnTo>
                      <a:pt x="881" y="5457"/>
                    </a:lnTo>
                    <a:lnTo>
                      <a:pt x="3688" y="5457"/>
                    </a:lnTo>
                    <a:lnTo>
                      <a:pt x="3755" y="5452"/>
                    </a:lnTo>
                    <a:lnTo>
                      <a:pt x="3821" y="5438"/>
                    </a:lnTo>
                    <a:lnTo>
                      <a:pt x="3883" y="5413"/>
                    </a:lnTo>
                    <a:lnTo>
                      <a:pt x="3940" y="5381"/>
                    </a:lnTo>
                    <a:lnTo>
                      <a:pt x="3992" y="5342"/>
                    </a:lnTo>
                    <a:lnTo>
                      <a:pt x="4038" y="5297"/>
                    </a:lnTo>
                    <a:lnTo>
                      <a:pt x="4077" y="5244"/>
                    </a:lnTo>
                    <a:lnTo>
                      <a:pt x="4109" y="5187"/>
                    </a:lnTo>
                    <a:lnTo>
                      <a:pt x="4133" y="5125"/>
                    </a:lnTo>
                    <a:lnTo>
                      <a:pt x="4149" y="5061"/>
                    </a:lnTo>
                    <a:lnTo>
                      <a:pt x="4154" y="4991"/>
                    </a:lnTo>
                    <a:lnTo>
                      <a:pt x="4154" y="4158"/>
                    </a:lnTo>
                    <a:lnTo>
                      <a:pt x="4163" y="4153"/>
                    </a:lnTo>
                    <a:lnTo>
                      <a:pt x="4569" y="3468"/>
                    </a:lnTo>
                    <a:lnTo>
                      <a:pt x="4569" y="4991"/>
                    </a:lnTo>
                    <a:lnTo>
                      <a:pt x="4563" y="5087"/>
                    </a:lnTo>
                    <a:lnTo>
                      <a:pt x="4547" y="5180"/>
                    </a:lnTo>
                    <a:lnTo>
                      <a:pt x="4524" y="5269"/>
                    </a:lnTo>
                    <a:lnTo>
                      <a:pt x="4490" y="5354"/>
                    </a:lnTo>
                    <a:lnTo>
                      <a:pt x="4448" y="5436"/>
                    </a:lnTo>
                    <a:lnTo>
                      <a:pt x="4398" y="5511"/>
                    </a:lnTo>
                    <a:lnTo>
                      <a:pt x="4341" y="5580"/>
                    </a:lnTo>
                    <a:lnTo>
                      <a:pt x="4277" y="5644"/>
                    </a:lnTo>
                    <a:lnTo>
                      <a:pt x="4207" y="5701"/>
                    </a:lnTo>
                    <a:lnTo>
                      <a:pt x="4131" y="5751"/>
                    </a:lnTo>
                    <a:lnTo>
                      <a:pt x="4051" y="5794"/>
                    </a:lnTo>
                    <a:lnTo>
                      <a:pt x="3965" y="5828"/>
                    </a:lnTo>
                    <a:lnTo>
                      <a:pt x="3876" y="5852"/>
                    </a:lnTo>
                    <a:lnTo>
                      <a:pt x="3784" y="5867"/>
                    </a:lnTo>
                    <a:lnTo>
                      <a:pt x="3688" y="5872"/>
                    </a:lnTo>
                    <a:lnTo>
                      <a:pt x="881" y="5872"/>
                    </a:lnTo>
                    <a:lnTo>
                      <a:pt x="785" y="5867"/>
                    </a:lnTo>
                    <a:lnTo>
                      <a:pt x="693" y="5852"/>
                    </a:lnTo>
                    <a:lnTo>
                      <a:pt x="604" y="5828"/>
                    </a:lnTo>
                    <a:lnTo>
                      <a:pt x="518" y="5794"/>
                    </a:lnTo>
                    <a:lnTo>
                      <a:pt x="438" y="5751"/>
                    </a:lnTo>
                    <a:lnTo>
                      <a:pt x="361" y="5701"/>
                    </a:lnTo>
                    <a:lnTo>
                      <a:pt x="292" y="5644"/>
                    </a:lnTo>
                    <a:lnTo>
                      <a:pt x="228" y="5580"/>
                    </a:lnTo>
                    <a:lnTo>
                      <a:pt x="171" y="5511"/>
                    </a:lnTo>
                    <a:lnTo>
                      <a:pt x="121" y="5436"/>
                    </a:lnTo>
                    <a:lnTo>
                      <a:pt x="79" y="5354"/>
                    </a:lnTo>
                    <a:lnTo>
                      <a:pt x="46" y="5269"/>
                    </a:lnTo>
                    <a:lnTo>
                      <a:pt x="22" y="5180"/>
                    </a:lnTo>
                    <a:lnTo>
                      <a:pt x="6" y="5087"/>
                    </a:lnTo>
                    <a:lnTo>
                      <a:pt x="0" y="4991"/>
                    </a:lnTo>
                    <a:lnTo>
                      <a:pt x="0" y="881"/>
                    </a:lnTo>
                    <a:lnTo>
                      <a:pt x="6" y="785"/>
                    </a:lnTo>
                    <a:lnTo>
                      <a:pt x="22" y="692"/>
                    </a:lnTo>
                    <a:lnTo>
                      <a:pt x="46" y="603"/>
                    </a:lnTo>
                    <a:lnTo>
                      <a:pt x="79" y="518"/>
                    </a:lnTo>
                    <a:lnTo>
                      <a:pt x="121" y="438"/>
                    </a:lnTo>
                    <a:lnTo>
                      <a:pt x="171" y="361"/>
                    </a:lnTo>
                    <a:lnTo>
                      <a:pt x="228" y="292"/>
                    </a:lnTo>
                    <a:lnTo>
                      <a:pt x="292" y="228"/>
                    </a:lnTo>
                    <a:lnTo>
                      <a:pt x="361" y="171"/>
                    </a:lnTo>
                    <a:lnTo>
                      <a:pt x="438" y="121"/>
                    </a:lnTo>
                    <a:lnTo>
                      <a:pt x="518" y="78"/>
                    </a:lnTo>
                    <a:lnTo>
                      <a:pt x="604" y="46"/>
                    </a:lnTo>
                    <a:lnTo>
                      <a:pt x="693" y="21"/>
                    </a:lnTo>
                    <a:lnTo>
                      <a:pt x="785" y="5"/>
                    </a:lnTo>
                    <a:lnTo>
                      <a:pt x="881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20" name="Gruppieren 19"/>
          <p:cNvGrpSpPr/>
          <p:nvPr/>
        </p:nvGrpSpPr>
        <p:grpSpPr>
          <a:xfrm>
            <a:off x="3279511" y="1860079"/>
            <a:ext cx="2640558" cy="2603957"/>
            <a:chOff x="3308697" y="1860079"/>
            <a:chExt cx="2640558" cy="2603957"/>
          </a:xfrm>
        </p:grpSpPr>
        <p:sp>
          <p:nvSpPr>
            <p:cNvPr id="26" name="Textfeld 25"/>
            <p:cNvSpPr txBox="1"/>
            <p:nvPr/>
          </p:nvSpPr>
          <p:spPr>
            <a:xfrm>
              <a:off x="3308697" y="2295511"/>
              <a:ext cx="2640558" cy="2168525"/>
            </a:xfrm>
            <a:prstGeom prst="rect">
              <a:avLst/>
            </a:prstGeom>
            <a:noFill/>
          </p:spPr>
          <p:txBody>
            <a:bodyPr wrap="square" rIns="0" rtlCol="0">
              <a:spAutoFit/>
            </a:bodyPr>
            <a:lstStyle/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altLang="zh-CN" sz="1100" dirty="0"/>
                <a:t>Самые популярные мощности и КЦТ</a:t>
              </a:r>
              <a:endParaRPr lang="en-US" altLang="zh-CN" sz="1100" dirty="0"/>
            </a:p>
            <a:p>
              <a:pPr>
                <a:spcAft>
                  <a:spcPts val="600"/>
                </a:spcAft>
              </a:pPr>
              <a:r>
                <a:rPr lang="en-US" altLang="zh-CN" sz="1100" dirty="0"/>
                <a:t>    </a:t>
              </a:r>
              <a:r>
                <a:rPr lang="en-US" altLang="zh-CN" sz="1100" b="1" dirty="0"/>
                <a:t>(9-24W: 8</a:t>
              </a:r>
              <a:r>
                <a:rPr lang="ru-RU" altLang="en-US" sz="1100" b="1" dirty="0"/>
                <a:t>3</a:t>
              </a:r>
              <a:r>
                <a:rPr lang="en-US" altLang="zh-CN" sz="1100" b="1" dirty="0"/>
                <a:t>0-865)</a:t>
              </a:r>
              <a:endParaRPr lang="en-US" altLang="zh-CN" sz="1100" b="1" dirty="0"/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70 </a:t>
              </a:r>
              <a:r>
                <a:rPr lang="en-US" altLang="zh-CN" sz="1100" dirty="0" err="1"/>
                <a:t>lm</a:t>
              </a:r>
              <a:r>
                <a:rPr lang="en-US" altLang="zh-CN" sz="1100" dirty="0"/>
                <a:t>/W</a:t>
              </a:r>
              <a:endParaRPr lang="en-US" altLang="zh-CN" sz="1100" dirty="0"/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D1</a:t>
              </a:r>
              <a:r>
                <a:rPr lang="ru-RU" altLang="zh-CN" sz="1100" dirty="0"/>
                <a:t>00</a:t>
              </a:r>
              <a:r>
                <a:rPr lang="en-US" altLang="zh-CN" sz="1100" dirty="0"/>
                <a:t>-D2</a:t>
              </a:r>
              <a:r>
                <a:rPr lang="ru-RU" altLang="zh-CN" sz="1100" dirty="0"/>
                <a:t>00</a:t>
              </a:r>
              <a:r>
                <a:rPr lang="en-US" altLang="zh-CN" sz="1100" dirty="0"/>
                <a:t>mm</a:t>
              </a:r>
              <a:endParaRPr lang="en-US" altLang="zh-CN" sz="1100" dirty="0"/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2 </a:t>
              </a:r>
              <a:r>
                <a:rPr lang="ru-RU" altLang="zh-CN" sz="1100" dirty="0"/>
                <a:t>Года гарантии</a:t>
              </a:r>
              <a:endParaRPr lang="en-US" altLang="zh-CN" sz="1100" dirty="0"/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altLang="zh-CN" sz="1100" dirty="0"/>
                <a:t>Цветная упаковка</a:t>
              </a:r>
              <a:endParaRPr lang="ru-RU" altLang="zh-CN" sz="1100" dirty="0"/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altLang="zh-CN" sz="1100" dirty="0"/>
                <a:t>Доступная цена</a:t>
              </a:r>
              <a:endParaRPr lang="en-US" altLang="zh-CN" sz="1100" dirty="0"/>
            </a:p>
            <a:p>
              <a:pPr>
                <a:spcAft>
                  <a:spcPts val="600"/>
                </a:spcAft>
              </a:pPr>
              <a:r>
                <a:rPr lang="en-US" altLang="zh-CN" sz="1200" dirty="0"/>
                <a:t>.</a:t>
              </a:r>
              <a:endParaRPr lang="en-US" altLang="zh-CN" sz="1200" dirty="0"/>
            </a:p>
          </p:txBody>
        </p:sp>
        <p:grpSp>
          <p:nvGrpSpPr>
            <p:cNvPr id="19" name="Gruppieren 18"/>
            <p:cNvGrpSpPr/>
            <p:nvPr/>
          </p:nvGrpSpPr>
          <p:grpSpPr>
            <a:xfrm>
              <a:off x="3308697" y="1860079"/>
              <a:ext cx="2640558" cy="360000"/>
              <a:chOff x="3308697" y="1860079"/>
              <a:chExt cx="2640558" cy="360000"/>
            </a:xfrm>
          </p:grpSpPr>
          <p:grpSp>
            <p:nvGrpSpPr>
              <p:cNvPr id="28" name="Gruppieren 27"/>
              <p:cNvGrpSpPr/>
              <p:nvPr/>
            </p:nvGrpSpPr>
            <p:grpSpPr>
              <a:xfrm>
                <a:off x="3308697" y="1860079"/>
                <a:ext cx="2640558" cy="360000"/>
                <a:chOff x="426036" y="1860079"/>
                <a:chExt cx="2640558" cy="360000"/>
              </a:xfrm>
            </p:grpSpPr>
            <p:sp>
              <p:nvSpPr>
                <p:cNvPr id="30" name="AutoShape 3"/>
                <p:cNvSpPr>
                  <a:spLocks noChangeArrowheads="1"/>
                </p:cNvSpPr>
                <p:nvPr/>
              </p:nvSpPr>
              <p:spPr bwMode="auto">
                <a:xfrm>
                  <a:off x="504136" y="1886363"/>
                  <a:ext cx="2562458" cy="307433"/>
                </a:xfrm>
                <a:prstGeom prst="roundRect">
                  <a:avLst>
                    <a:gd name="adj" fmla="val 0"/>
                  </a:avLst>
                </a:prstGeom>
                <a:solidFill>
                  <a:srgbClr val="FF6600"/>
                </a:solidFill>
                <a:ln w="0" algn="ctr">
                  <a:noFill/>
                  <a:round/>
                </a:ln>
                <a:effectLst/>
              </p:spPr>
              <p:txBody>
                <a:bodyPr lIns="360000" tIns="0" rIns="36000" bIns="0" anchor="ctr"/>
                <a:lstStyle/>
                <a:p>
                  <a:pPr defTabSz="762000" eaLnBrk="0" hangingPunct="0">
                    <a:lnSpc>
                      <a:spcPct val="90000"/>
                    </a:lnSpc>
                    <a:buClr>
                      <a:srgbClr val="BFBFBF"/>
                    </a:buClr>
                  </a:pPr>
                  <a:r>
                    <a:rPr lang="ru-RU" altLang="zh-CN" b="1" dirty="0">
                      <a:solidFill>
                        <a:srgbClr val="FFFFFF"/>
                      </a:solidFill>
                      <a:latin typeface="Calibri" panose="020F0502020204030204" pitchFamily="34" charset="0"/>
                    </a:rPr>
                    <a:t>УТП</a:t>
                  </a:r>
                  <a:endParaRPr lang="en-US" altLang="zh-CN" b="1" dirty="0">
                    <a:solidFill>
                      <a:srgbClr val="FFFFFF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37" name="AutoShape 3"/>
                <p:cNvSpPr>
                  <a:spLocks noChangeArrowheads="1"/>
                </p:cNvSpPr>
                <p:nvPr/>
              </p:nvSpPr>
              <p:spPr bwMode="auto">
                <a:xfrm>
                  <a:off x="426036" y="1860079"/>
                  <a:ext cx="360000" cy="360000"/>
                </a:xfrm>
                <a:prstGeom prst="ellipse">
                  <a:avLst/>
                </a:prstGeom>
                <a:solidFill>
                  <a:schemeClr val="bg1"/>
                </a:solidFill>
                <a:ln w="0" algn="ctr">
                  <a:solidFill>
                    <a:schemeClr val="accent1"/>
                  </a:solidFill>
                  <a:round/>
                </a:ln>
                <a:effectLst/>
              </p:spPr>
              <p:txBody>
                <a:bodyPr wrap="none" lIns="0" tIns="36000" rIns="0" bIns="36000" anchor="ctr">
                  <a:noAutofit/>
                </a:bodyPr>
                <a:lstStyle/>
                <a:p>
                  <a:pPr algn="ctr" defTabSz="762000" eaLnBrk="0" hangingPunct="0">
                    <a:lnSpc>
                      <a:spcPct val="90000"/>
                    </a:lnSpc>
                    <a:buClr>
                      <a:srgbClr val="BFBFBF"/>
                    </a:buClr>
                  </a:pPr>
                  <a:r>
                    <a:rPr lang="en-US" altLang="zh-CN" sz="1600" b="1" dirty="0">
                      <a:solidFill>
                        <a:schemeClr val="accent1"/>
                      </a:solidFill>
                      <a:latin typeface="Calibri" panose="020F0502020204030204" pitchFamily="34" charset="0"/>
                    </a:rPr>
                    <a:t> 2.</a:t>
                  </a:r>
                  <a:endParaRPr lang="en-US" altLang="zh-CN" sz="1600" b="1" dirty="0">
                    <a:solidFill>
                      <a:schemeClr val="accent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sp>
            <p:nvSpPr>
              <p:cNvPr id="84" name="Freeform 5"/>
              <p:cNvSpPr>
                <a:spLocks noEditPoints="1"/>
              </p:cNvSpPr>
              <p:nvPr/>
            </p:nvSpPr>
            <p:spPr bwMode="auto">
              <a:xfrm>
                <a:off x="5634172" y="1917114"/>
                <a:ext cx="245804" cy="245931"/>
              </a:xfrm>
              <a:custGeom>
                <a:avLst/>
                <a:gdLst>
                  <a:gd name="T0" fmla="*/ 1995 w 3219"/>
                  <a:gd name="T1" fmla="*/ 2606 h 3220"/>
                  <a:gd name="T2" fmla="*/ 1759 w 3219"/>
                  <a:gd name="T3" fmla="*/ 2347 h 3220"/>
                  <a:gd name="T4" fmla="*/ 942 w 3219"/>
                  <a:gd name="T5" fmla="*/ 1758 h 3220"/>
                  <a:gd name="T6" fmla="*/ 948 w 3219"/>
                  <a:gd name="T7" fmla="*/ 1797 h 3220"/>
                  <a:gd name="T8" fmla="*/ 971 w 3219"/>
                  <a:gd name="T9" fmla="*/ 1834 h 3220"/>
                  <a:gd name="T10" fmla="*/ 579 w 3219"/>
                  <a:gd name="T11" fmla="*/ 1865 h 3220"/>
                  <a:gd name="T12" fmla="*/ 620 w 3219"/>
                  <a:gd name="T13" fmla="*/ 1807 h 3220"/>
                  <a:gd name="T14" fmla="*/ 632 w 3219"/>
                  <a:gd name="T15" fmla="*/ 1758 h 3220"/>
                  <a:gd name="T16" fmla="*/ 1575 w 3219"/>
                  <a:gd name="T17" fmla="*/ 2700 h 3220"/>
                  <a:gd name="T18" fmla="*/ 1440 w 3219"/>
                  <a:gd name="T19" fmla="*/ 943 h 3220"/>
                  <a:gd name="T20" fmla="*/ 518 w 3219"/>
                  <a:gd name="T21" fmla="*/ 1573 h 3220"/>
                  <a:gd name="T22" fmla="*/ 658 w 3219"/>
                  <a:gd name="T23" fmla="*/ 1878 h 3220"/>
                  <a:gd name="T24" fmla="*/ 928 w 3219"/>
                  <a:gd name="T25" fmla="*/ 2095 h 3220"/>
                  <a:gd name="T26" fmla="*/ 1056 w 3219"/>
                  <a:gd name="T27" fmla="*/ 1573 h 3220"/>
                  <a:gd name="T28" fmla="*/ 1461 w 3219"/>
                  <a:gd name="T29" fmla="*/ 941 h 3220"/>
                  <a:gd name="T30" fmla="*/ 1412 w 3219"/>
                  <a:gd name="T31" fmla="*/ 952 h 3220"/>
                  <a:gd name="T32" fmla="*/ 1224 w 3219"/>
                  <a:gd name="T33" fmla="*/ 1030 h 3220"/>
                  <a:gd name="T34" fmla="*/ 1355 w 3219"/>
                  <a:gd name="T35" fmla="*/ 579 h 3220"/>
                  <a:gd name="T36" fmla="*/ 1385 w 3219"/>
                  <a:gd name="T37" fmla="*/ 602 h 3220"/>
                  <a:gd name="T38" fmla="*/ 1412 w 3219"/>
                  <a:gd name="T39" fmla="*/ 619 h 3220"/>
                  <a:gd name="T40" fmla="*/ 1461 w 3219"/>
                  <a:gd name="T41" fmla="*/ 631 h 3220"/>
                  <a:gd name="T42" fmla="*/ 0 w 3219"/>
                  <a:gd name="T43" fmla="*/ 1573 h 3220"/>
                  <a:gd name="T44" fmla="*/ 1644 w 3219"/>
                  <a:gd name="T45" fmla="*/ 517 h 3220"/>
                  <a:gd name="T46" fmla="*/ 1396 w 3219"/>
                  <a:gd name="T47" fmla="*/ 689 h 3220"/>
                  <a:gd name="T48" fmla="*/ 1342 w 3219"/>
                  <a:gd name="T49" fmla="*/ 658 h 3220"/>
                  <a:gd name="T50" fmla="*/ 1337 w 3219"/>
                  <a:gd name="T51" fmla="*/ 917 h 3220"/>
                  <a:gd name="T52" fmla="*/ 1368 w 3219"/>
                  <a:gd name="T53" fmla="*/ 894 h 3220"/>
                  <a:gd name="T54" fmla="*/ 1644 w 3219"/>
                  <a:gd name="T55" fmla="*/ 1054 h 3220"/>
                  <a:gd name="T56" fmla="*/ 2226 w 3219"/>
                  <a:gd name="T57" fmla="*/ 1554 h 3220"/>
                  <a:gd name="T58" fmla="*/ 2270 w 3219"/>
                  <a:gd name="T59" fmla="*/ 1494 h 3220"/>
                  <a:gd name="T60" fmla="*/ 2188 w 3219"/>
                  <a:gd name="T61" fmla="*/ 1223 h 3220"/>
                  <a:gd name="T62" fmla="*/ 2671 w 3219"/>
                  <a:gd name="T63" fmla="*/ 1273 h 3220"/>
                  <a:gd name="T64" fmla="*/ 2640 w 3219"/>
                  <a:gd name="T65" fmla="*/ 1351 h 3220"/>
                  <a:gd name="T66" fmla="*/ 2587 w 3219"/>
                  <a:gd name="T67" fmla="*/ 1458 h 3220"/>
                  <a:gd name="T68" fmla="*/ 1644 w 3219"/>
                  <a:gd name="T69" fmla="*/ 0 h 3220"/>
                  <a:gd name="T70" fmla="*/ 3219 w 3219"/>
                  <a:gd name="T71" fmla="*/ 3218 h 3220"/>
                  <a:gd name="T72" fmla="*/ 1647 w 3219"/>
                  <a:gd name="T73" fmla="*/ 2676 h 3220"/>
                  <a:gd name="T74" fmla="*/ 1832 w 3219"/>
                  <a:gd name="T75" fmla="*/ 2613 h 3220"/>
                  <a:gd name="T76" fmla="*/ 1938 w 3219"/>
                  <a:gd name="T77" fmla="*/ 2668 h 3220"/>
                  <a:gd name="T78" fmla="*/ 1828 w 3219"/>
                  <a:gd name="T79" fmla="*/ 2252 h 3220"/>
                  <a:gd name="T80" fmla="*/ 2170 w 3219"/>
                  <a:gd name="T81" fmla="*/ 1644 h 3220"/>
                  <a:gd name="T82" fmla="*/ 2263 w 3219"/>
                  <a:gd name="T83" fmla="*/ 1614 h 3220"/>
                  <a:gd name="T84" fmla="*/ 2339 w 3219"/>
                  <a:gd name="T85" fmla="*/ 1515 h 3220"/>
                  <a:gd name="T86" fmla="*/ 2344 w 3219"/>
                  <a:gd name="T87" fmla="*/ 1428 h 3220"/>
                  <a:gd name="T88" fmla="*/ 2323 w 3219"/>
                  <a:gd name="T89" fmla="*/ 1368 h 3220"/>
                  <a:gd name="T90" fmla="*/ 2305 w 3219"/>
                  <a:gd name="T91" fmla="*/ 1342 h 3220"/>
                  <a:gd name="T92" fmla="*/ 2605 w 3219"/>
                  <a:gd name="T93" fmla="*/ 1224 h 3220"/>
                  <a:gd name="T94" fmla="*/ 2579 w 3219"/>
                  <a:gd name="T95" fmla="*/ 1317 h 3220"/>
                  <a:gd name="T96" fmla="*/ 2544 w 3219"/>
                  <a:gd name="T97" fmla="*/ 1365 h 3220"/>
                  <a:gd name="T98" fmla="*/ 2524 w 3219"/>
                  <a:gd name="T99" fmla="*/ 1410 h 3220"/>
                  <a:gd name="T100" fmla="*/ 2517 w 3219"/>
                  <a:gd name="T101" fmla="*/ 1458 h 3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219" h="3220">
                    <a:moveTo>
                      <a:pt x="1759" y="2516"/>
                    </a:moveTo>
                    <a:lnTo>
                      <a:pt x="1759" y="2516"/>
                    </a:lnTo>
                    <a:lnTo>
                      <a:pt x="1759" y="2516"/>
                    </a:lnTo>
                    <a:cubicBezTo>
                      <a:pt x="1804" y="2516"/>
                      <a:pt x="1847" y="2533"/>
                      <a:pt x="1878" y="2560"/>
                    </a:cubicBezTo>
                    <a:cubicBezTo>
                      <a:pt x="1909" y="2589"/>
                      <a:pt x="1950" y="2606"/>
                      <a:pt x="1995" y="2606"/>
                    </a:cubicBezTo>
                    <a:cubicBezTo>
                      <a:pt x="2091" y="2604"/>
                      <a:pt x="2169" y="2527"/>
                      <a:pt x="2169" y="2431"/>
                    </a:cubicBezTo>
                    <a:cubicBezTo>
                      <a:pt x="2169" y="2336"/>
                      <a:pt x="2091" y="2258"/>
                      <a:pt x="1995" y="2258"/>
                    </a:cubicBezTo>
                    <a:cubicBezTo>
                      <a:pt x="1949" y="2258"/>
                      <a:pt x="1908" y="2276"/>
                      <a:pt x="1877" y="2305"/>
                    </a:cubicBezTo>
                    <a:lnTo>
                      <a:pt x="1876" y="2305"/>
                    </a:lnTo>
                    <a:cubicBezTo>
                      <a:pt x="1845" y="2331"/>
                      <a:pt x="1803" y="2348"/>
                      <a:pt x="1759" y="2347"/>
                    </a:cubicBezTo>
                    <a:cubicBezTo>
                      <a:pt x="1657" y="2347"/>
                      <a:pt x="1575" y="2264"/>
                      <a:pt x="1575" y="2163"/>
                    </a:cubicBezTo>
                    <a:lnTo>
                      <a:pt x="1575" y="1644"/>
                    </a:lnTo>
                    <a:lnTo>
                      <a:pt x="1056" y="1644"/>
                    </a:lnTo>
                    <a:cubicBezTo>
                      <a:pt x="1032" y="1644"/>
                      <a:pt x="1011" y="1651"/>
                      <a:pt x="993" y="1665"/>
                    </a:cubicBezTo>
                    <a:cubicBezTo>
                      <a:pt x="962" y="1685"/>
                      <a:pt x="942" y="1718"/>
                      <a:pt x="942" y="1758"/>
                    </a:cubicBezTo>
                    <a:cubicBezTo>
                      <a:pt x="942" y="1760"/>
                      <a:pt x="942" y="1765"/>
                      <a:pt x="944" y="1772"/>
                    </a:cubicBezTo>
                    <a:cubicBezTo>
                      <a:pt x="944" y="1776"/>
                      <a:pt x="944" y="1777"/>
                      <a:pt x="944" y="1778"/>
                    </a:cubicBezTo>
                    <a:lnTo>
                      <a:pt x="944" y="1779"/>
                    </a:lnTo>
                    <a:cubicBezTo>
                      <a:pt x="945" y="1780"/>
                      <a:pt x="945" y="1784"/>
                      <a:pt x="947" y="1789"/>
                    </a:cubicBezTo>
                    <a:cubicBezTo>
                      <a:pt x="948" y="1796"/>
                      <a:pt x="948" y="1797"/>
                      <a:pt x="948" y="1797"/>
                    </a:cubicBezTo>
                    <a:cubicBezTo>
                      <a:pt x="950" y="1798"/>
                      <a:pt x="951" y="1802"/>
                      <a:pt x="954" y="1808"/>
                    </a:cubicBezTo>
                    <a:cubicBezTo>
                      <a:pt x="957" y="1813"/>
                      <a:pt x="957" y="1814"/>
                      <a:pt x="958" y="1815"/>
                    </a:cubicBezTo>
                    <a:cubicBezTo>
                      <a:pt x="958" y="1816"/>
                      <a:pt x="960" y="1820"/>
                      <a:pt x="963" y="1823"/>
                    </a:cubicBezTo>
                    <a:cubicBezTo>
                      <a:pt x="965" y="1827"/>
                      <a:pt x="968" y="1829"/>
                      <a:pt x="968" y="1829"/>
                    </a:cubicBezTo>
                    <a:cubicBezTo>
                      <a:pt x="969" y="1832"/>
                      <a:pt x="970" y="1833"/>
                      <a:pt x="971" y="1834"/>
                    </a:cubicBezTo>
                    <a:lnTo>
                      <a:pt x="970" y="1834"/>
                    </a:lnTo>
                    <a:cubicBezTo>
                      <a:pt x="1008" y="1876"/>
                      <a:pt x="1031" y="1932"/>
                      <a:pt x="1031" y="1994"/>
                    </a:cubicBezTo>
                    <a:cubicBezTo>
                      <a:pt x="1031" y="2128"/>
                      <a:pt x="922" y="2238"/>
                      <a:pt x="787" y="2238"/>
                    </a:cubicBezTo>
                    <a:cubicBezTo>
                      <a:pt x="652" y="2238"/>
                      <a:pt x="542" y="2129"/>
                      <a:pt x="542" y="1994"/>
                    </a:cubicBezTo>
                    <a:cubicBezTo>
                      <a:pt x="542" y="1946"/>
                      <a:pt x="556" y="1902"/>
                      <a:pt x="579" y="1865"/>
                    </a:cubicBezTo>
                    <a:cubicBezTo>
                      <a:pt x="586" y="1854"/>
                      <a:pt x="595" y="1844"/>
                      <a:pt x="601" y="1838"/>
                    </a:cubicBezTo>
                    <a:cubicBezTo>
                      <a:pt x="601" y="1837"/>
                      <a:pt x="603" y="1834"/>
                      <a:pt x="607" y="1829"/>
                    </a:cubicBezTo>
                    <a:cubicBezTo>
                      <a:pt x="607" y="1829"/>
                      <a:pt x="607" y="1828"/>
                      <a:pt x="610" y="1822"/>
                    </a:cubicBezTo>
                    <a:cubicBezTo>
                      <a:pt x="614" y="1817"/>
                      <a:pt x="615" y="1816"/>
                      <a:pt x="616" y="1815"/>
                    </a:cubicBezTo>
                    <a:cubicBezTo>
                      <a:pt x="616" y="1814"/>
                      <a:pt x="617" y="1811"/>
                      <a:pt x="620" y="1807"/>
                    </a:cubicBezTo>
                    <a:cubicBezTo>
                      <a:pt x="622" y="1801"/>
                      <a:pt x="625" y="1798"/>
                      <a:pt x="625" y="1797"/>
                    </a:cubicBezTo>
                    <a:cubicBezTo>
                      <a:pt x="625" y="1797"/>
                      <a:pt x="626" y="1795"/>
                      <a:pt x="627" y="1789"/>
                    </a:cubicBezTo>
                    <a:cubicBezTo>
                      <a:pt x="628" y="1783"/>
                      <a:pt x="629" y="1779"/>
                      <a:pt x="629" y="1778"/>
                    </a:cubicBezTo>
                    <a:cubicBezTo>
                      <a:pt x="629" y="1778"/>
                      <a:pt x="629" y="1777"/>
                      <a:pt x="631" y="1771"/>
                    </a:cubicBezTo>
                    <a:cubicBezTo>
                      <a:pt x="631" y="1764"/>
                      <a:pt x="632" y="1760"/>
                      <a:pt x="632" y="1758"/>
                    </a:cubicBezTo>
                    <a:cubicBezTo>
                      <a:pt x="632" y="1696"/>
                      <a:pt x="580" y="1644"/>
                      <a:pt x="518" y="1644"/>
                    </a:cubicBezTo>
                    <a:lnTo>
                      <a:pt x="0" y="1644"/>
                    </a:lnTo>
                    <a:lnTo>
                      <a:pt x="0" y="3220"/>
                    </a:lnTo>
                    <a:lnTo>
                      <a:pt x="1575" y="3220"/>
                    </a:lnTo>
                    <a:lnTo>
                      <a:pt x="1575" y="2700"/>
                    </a:lnTo>
                    <a:cubicBezTo>
                      <a:pt x="1575" y="2637"/>
                      <a:pt x="1607" y="2581"/>
                      <a:pt x="1656" y="2548"/>
                    </a:cubicBezTo>
                    <a:cubicBezTo>
                      <a:pt x="1685" y="2528"/>
                      <a:pt x="1720" y="2516"/>
                      <a:pt x="1759" y="2516"/>
                    </a:cubicBezTo>
                    <a:lnTo>
                      <a:pt x="1759" y="2516"/>
                    </a:lnTo>
                    <a:close/>
                    <a:moveTo>
                      <a:pt x="1440" y="943"/>
                    </a:moveTo>
                    <a:lnTo>
                      <a:pt x="1440" y="943"/>
                    </a:lnTo>
                    <a:lnTo>
                      <a:pt x="1440" y="943"/>
                    </a:lnTo>
                    <a:lnTo>
                      <a:pt x="1440" y="943"/>
                    </a:lnTo>
                    <a:close/>
                    <a:moveTo>
                      <a:pt x="518" y="1573"/>
                    </a:moveTo>
                    <a:lnTo>
                      <a:pt x="518" y="1573"/>
                    </a:lnTo>
                    <a:lnTo>
                      <a:pt x="518" y="1573"/>
                    </a:lnTo>
                    <a:cubicBezTo>
                      <a:pt x="558" y="1573"/>
                      <a:pt x="596" y="1586"/>
                      <a:pt x="626" y="1608"/>
                    </a:cubicBezTo>
                    <a:cubicBezTo>
                      <a:pt x="672" y="1641"/>
                      <a:pt x="702" y="1696"/>
                      <a:pt x="702" y="1757"/>
                    </a:cubicBezTo>
                    <a:cubicBezTo>
                      <a:pt x="702" y="1798"/>
                      <a:pt x="689" y="1835"/>
                      <a:pt x="668" y="1866"/>
                    </a:cubicBezTo>
                    <a:cubicBezTo>
                      <a:pt x="664" y="1869"/>
                      <a:pt x="662" y="1873"/>
                      <a:pt x="659" y="1876"/>
                    </a:cubicBezTo>
                    <a:lnTo>
                      <a:pt x="658" y="1878"/>
                    </a:lnTo>
                    <a:cubicBezTo>
                      <a:pt x="653" y="1882"/>
                      <a:pt x="650" y="1887"/>
                      <a:pt x="646" y="1892"/>
                    </a:cubicBezTo>
                    <a:cubicBezTo>
                      <a:pt x="626" y="1921"/>
                      <a:pt x="614" y="1955"/>
                      <a:pt x="614" y="1994"/>
                    </a:cubicBezTo>
                    <a:cubicBezTo>
                      <a:pt x="614" y="2051"/>
                      <a:pt x="641" y="2102"/>
                      <a:pt x="686" y="2135"/>
                    </a:cubicBezTo>
                    <a:cubicBezTo>
                      <a:pt x="714" y="2155"/>
                      <a:pt x="749" y="2167"/>
                      <a:pt x="787" y="2167"/>
                    </a:cubicBezTo>
                    <a:cubicBezTo>
                      <a:pt x="844" y="2167"/>
                      <a:pt x="896" y="2139"/>
                      <a:pt x="928" y="2095"/>
                    </a:cubicBezTo>
                    <a:cubicBezTo>
                      <a:pt x="948" y="2066"/>
                      <a:pt x="960" y="2032"/>
                      <a:pt x="960" y="1994"/>
                    </a:cubicBezTo>
                    <a:cubicBezTo>
                      <a:pt x="960" y="1947"/>
                      <a:pt x="944" y="1906"/>
                      <a:pt x="914" y="1875"/>
                    </a:cubicBezTo>
                    <a:cubicBezTo>
                      <a:pt x="887" y="1843"/>
                      <a:pt x="872" y="1802"/>
                      <a:pt x="872" y="1757"/>
                    </a:cubicBezTo>
                    <a:cubicBezTo>
                      <a:pt x="872" y="1718"/>
                      <a:pt x="884" y="1679"/>
                      <a:pt x="907" y="1650"/>
                    </a:cubicBezTo>
                    <a:cubicBezTo>
                      <a:pt x="940" y="1603"/>
                      <a:pt x="994" y="1573"/>
                      <a:pt x="1056" y="1573"/>
                    </a:cubicBezTo>
                    <a:lnTo>
                      <a:pt x="1575" y="1573"/>
                    </a:lnTo>
                    <a:lnTo>
                      <a:pt x="1575" y="1054"/>
                    </a:lnTo>
                    <a:cubicBezTo>
                      <a:pt x="1575" y="1031"/>
                      <a:pt x="1567" y="1009"/>
                      <a:pt x="1554" y="991"/>
                    </a:cubicBezTo>
                    <a:cubicBezTo>
                      <a:pt x="1547" y="979"/>
                      <a:pt x="1538" y="970"/>
                      <a:pt x="1527" y="963"/>
                    </a:cubicBezTo>
                    <a:cubicBezTo>
                      <a:pt x="1508" y="948"/>
                      <a:pt x="1485" y="941"/>
                      <a:pt x="1461" y="941"/>
                    </a:cubicBezTo>
                    <a:cubicBezTo>
                      <a:pt x="1458" y="941"/>
                      <a:pt x="1453" y="941"/>
                      <a:pt x="1446" y="942"/>
                    </a:cubicBezTo>
                    <a:cubicBezTo>
                      <a:pt x="1442" y="942"/>
                      <a:pt x="1441" y="942"/>
                      <a:pt x="1441" y="942"/>
                    </a:cubicBezTo>
                    <a:cubicBezTo>
                      <a:pt x="1438" y="942"/>
                      <a:pt x="1436" y="943"/>
                      <a:pt x="1428" y="946"/>
                    </a:cubicBezTo>
                    <a:cubicBezTo>
                      <a:pt x="1424" y="947"/>
                      <a:pt x="1422" y="948"/>
                      <a:pt x="1421" y="948"/>
                    </a:cubicBezTo>
                    <a:cubicBezTo>
                      <a:pt x="1421" y="948"/>
                      <a:pt x="1417" y="949"/>
                      <a:pt x="1412" y="952"/>
                    </a:cubicBezTo>
                    <a:cubicBezTo>
                      <a:pt x="1406" y="955"/>
                      <a:pt x="1404" y="957"/>
                      <a:pt x="1404" y="957"/>
                    </a:cubicBezTo>
                    <a:cubicBezTo>
                      <a:pt x="1403" y="957"/>
                      <a:pt x="1400" y="959"/>
                      <a:pt x="1394" y="963"/>
                    </a:cubicBezTo>
                    <a:cubicBezTo>
                      <a:pt x="1392" y="965"/>
                      <a:pt x="1391" y="965"/>
                      <a:pt x="1389" y="966"/>
                    </a:cubicBezTo>
                    <a:cubicBezTo>
                      <a:pt x="1387" y="968"/>
                      <a:pt x="1385" y="970"/>
                      <a:pt x="1385" y="970"/>
                    </a:cubicBezTo>
                    <a:cubicBezTo>
                      <a:pt x="1342" y="1007"/>
                      <a:pt x="1285" y="1030"/>
                      <a:pt x="1224" y="1030"/>
                    </a:cubicBezTo>
                    <a:cubicBezTo>
                      <a:pt x="1172" y="1030"/>
                      <a:pt x="1122" y="1013"/>
                      <a:pt x="1082" y="983"/>
                    </a:cubicBezTo>
                    <a:cubicBezTo>
                      <a:pt x="1021" y="939"/>
                      <a:pt x="981" y="867"/>
                      <a:pt x="981" y="786"/>
                    </a:cubicBezTo>
                    <a:cubicBezTo>
                      <a:pt x="981" y="733"/>
                      <a:pt x="997" y="683"/>
                      <a:pt x="1026" y="644"/>
                    </a:cubicBezTo>
                    <a:cubicBezTo>
                      <a:pt x="1070" y="582"/>
                      <a:pt x="1143" y="541"/>
                      <a:pt x="1224" y="542"/>
                    </a:cubicBezTo>
                    <a:cubicBezTo>
                      <a:pt x="1271" y="542"/>
                      <a:pt x="1315" y="555"/>
                      <a:pt x="1355" y="579"/>
                    </a:cubicBezTo>
                    <a:cubicBezTo>
                      <a:pt x="1354" y="579"/>
                      <a:pt x="1354" y="578"/>
                      <a:pt x="1354" y="578"/>
                    </a:cubicBezTo>
                    <a:lnTo>
                      <a:pt x="1355" y="579"/>
                    </a:lnTo>
                    <a:cubicBezTo>
                      <a:pt x="1357" y="580"/>
                      <a:pt x="1361" y="583"/>
                      <a:pt x="1364" y="586"/>
                    </a:cubicBezTo>
                    <a:cubicBezTo>
                      <a:pt x="1371" y="590"/>
                      <a:pt x="1377" y="596"/>
                      <a:pt x="1383" y="601"/>
                    </a:cubicBezTo>
                    <a:cubicBezTo>
                      <a:pt x="1383" y="601"/>
                      <a:pt x="1383" y="601"/>
                      <a:pt x="1385" y="602"/>
                    </a:cubicBezTo>
                    <a:cubicBezTo>
                      <a:pt x="1385" y="602"/>
                      <a:pt x="1386" y="603"/>
                      <a:pt x="1388" y="604"/>
                    </a:cubicBezTo>
                    <a:cubicBezTo>
                      <a:pt x="1389" y="605"/>
                      <a:pt x="1392" y="607"/>
                      <a:pt x="1397" y="610"/>
                    </a:cubicBezTo>
                    <a:cubicBezTo>
                      <a:pt x="1398" y="611"/>
                      <a:pt x="1400" y="613"/>
                      <a:pt x="1403" y="614"/>
                    </a:cubicBezTo>
                    <a:lnTo>
                      <a:pt x="1404" y="615"/>
                    </a:lnTo>
                    <a:cubicBezTo>
                      <a:pt x="1404" y="615"/>
                      <a:pt x="1407" y="616"/>
                      <a:pt x="1412" y="619"/>
                    </a:cubicBezTo>
                    <a:cubicBezTo>
                      <a:pt x="1418" y="622"/>
                      <a:pt x="1422" y="623"/>
                      <a:pt x="1422" y="623"/>
                    </a:cubicBezTo>
                    <a:cubicBezTo>
                      <a:pt x="1422" y="623"/>
                      <a:pt x="1424" y="625"/>
                      <a:pt x="1431" y="626"/>
                    </a:cubicBezTo>
                    <a:cubicBezTo>
                      <a:pt x="1437" y="627"/>
                      <a:pt x="1440" y="628"/>
                      <a:pt x="1440" y="628"/>
                    </a:cubicBezTo>
                    <a:cubicBezTo>
                      <a:pt x="1440" y="628"/>
                      <a:pt x="1442" y="628"/>
                      <a:pt x="1449" y="629"/>
                    </a:cubicBezTo>
                    <a:cubicBezTo>
                      <a:pt x="1455" y="631"/>
                      <a:pt x="1459" y="631"/>
                      <a:pt x="1461" y="631"/>
                    </a:cubicBezTo>
                    <a:cubicBezTo>
                      <a:pt x="1498" y="631"/>
                      <a:pt x="1533" y="611"/>
                      <a:pt x="1553" y="583"/>
                    </a:cubicBezTo>
                    <a:cubicBezTo>
                      <a:pt x="1566" y="565"/>
                      <a:pt x="1575" y="541"/>
                      <a:pt x="1575" y="517"/>
                    </a:cubicBezTo>
                    <a:lnTo>
                      <a:pt x="1575" y="0"/>
                    </a:lnTo>
                    <a:lnTo>
                      <a:pt x="0" y="0"/>
                    </a:lnTo>
                    <a:lnTo>
                      <a:pt x="0" y="1573"/>
                    </a:lnTo>
                    <a:lnTo>
                      <a:pt x="518" y="1573"/>
                    </a:lnTo>
                    <a:lnTo>
                      <a:pt x="518" y="1573"/>
                    </a:lnTo>
                    <a:close/>
                    <a:moveTo>
                      <a:pt x="1644" y="0"/>
                    </a:moveTo>
                    <a:lnTo>
                      <a:pt x="1644" y="0"/>
                    </a:lnTo>
                    <a:lnTo>
                      <a:pt x="1644" y="517"/>
                    </a:lnTo>
                    <a:cubicBezTo>
                      <a:pt x="1644" y="618"/>
                      <a:pt x="1562" y="701"/>
                      <a:pt x="1460" y="701"/>
                    </a:cubicBezTo>
                    <a:cubicBezTo>
                      <a:pt x="1449" y="701"/>
                      <a:pt x="1439" y="700"/>
                      <a:pt x="1429" y="698"/>
                    </a:cubicBezTo>
                    <a:lnTo>
                      <a:pt x="1428" y="698"/>
                    </a:lnTo>
                    <a:cubicBezTo>
                      <a:pt x="1418" y="696"/>
                      <a:pt x="1411" y="694"/>
                      <a:pt x="1406" y="692"/>
                    </a:cubicBezTo>
                    <a:cubicBezTo>
                      <a:pt x="1406" y="692"/>
                      <a:pt x="1403" y="691"/>
                      <a:pt x="1396" y="689"/>
                    </a:cubicBezTo>
                    <a:cubicBezTo>
                      <a:pt x="1388" y="686"/>
                      <a:pt x="1383" y="683"/>
                      <a:pt x="1379" y="682"/>
                    </a:cubicBezTo>
                    <a:cubicBezTo>
                      <a:pt x="1378" y="681"/>
                      <a:pt x="1374" y="679"/>
                      <a:pt x="1367" y="676"/>
                    </a:cubicBezTo>
                    <a:cubicBezTo>
                      <a:pt x="1360" y="671"/>
                      <a:pt x="1356" y="667"/>
                      <a:pt x="1353" y="665"/>
                    </a:cubicBezTo>
                    <a:cubicBezTo>
                      <a:pt x="1353" y="665"/>
                      <a:pt x="1349" y="664"/>
                      <a:pt x="1343" y="659"/>
                    </a:cubicBezTo>
                    <a:lnTo>
                      <a:pt x="1342" y="658"/>
                    </a:lnTo>
                    <a:cubicBezTo>
                      <a:pt x="1341" y="657"/>
                      <a:pt x="1338" y="655"/>
                      <a:pt x="1336" y="653"/>
                    </a:cubicBezTo>
                    <a:cubicBezTo>
                      <a:pt x="1305" y="628"/>
                      <a:pt x="1267" y="612"/>
                      <a:pt x="1224" y="612"/>
                    </a:cubicBezTo>
                    <a:cubicBezTo>
                      <a:pt x="1128" y="612"/>
                      <a:pt x="1050" y="690"/>
                      <a:pt x="1050" y="786"/>
                    </a:cubicBezTo>
                    <a:cubicBezTo>
                      <a:pt x="1050" y="881"/>
                      <a:pt x="1128" y="959"/>
                      <a:pt x="1224" y="959"/>
                    </a:cubicBezTo>
                    <a:cubicBezTo>
                      <a:pt x="1267" y="959"/>
                      <a:pt x="1305" y="943"/>
                      <a:pt x="1337" y="917"/>
                    </a:cubicBezTo>
                    <a:cubicBezTo>
                      <a:pt x="1339" y="915"/>
                      <a:pt x="1341" y="914"/>
                      <a:pt x="1342" y="914"/>
                    </a:cubicBezTo>
                    <a:lnTo>
                      <a:pt x="1342" y="912"/>
                    </a:lnTo>
                    <a:lnTo>
                      <a:pt x="1343" y="912"/>
                    </a:lnTo>
                    <a:cubicBezTo>
                      <a:pt x="1348" y="908"/>
                      <a:pt x="1351" y="906"/>
                      <a:pt x="1353" y="905"/>
                    </a:cubicBezTo>
                    <a:cubicBezTo>
                      <a:pt x="1356" y="903"/>
                      <a:pt x="1360" y="899"/>
                      <a:pt x="1368" y="894"/>
                    </a:cubicBezTo>
                    <a:cubicBezTo>
                      <a:pt x="1374" y="892"/>
                      <a:pt x="1378" y="890"/>
                      <a:pt x="1378" y="890"/>
                    </a:cubicBezTo>
                    <a:cubicBezTo>
                      <a:pt x="1383" y="887"/>
                      <a:pt x="1388" y="885"/>
                      <a:pt x="1396" y="881"/>
                    </a:cubicBezTo>
                    <a:cubicBezTo>
                      <a:pt x="1403" y="879"/>
                      <a:pt x="1406" y="879"/>
                      <a:pt x="1406" y="879"/>
                    </a:cubicBezTo>
                    <a:cubicBezTo>
                      <a:pt x="1422" y="874"/>
                      <a:pt x="1440" y="871"/>
                      <a:pt x="1460" y="871"/>
                    </a:cubicBezTo>
                    <a:cubicBezTo>
                      <a:pt x="1562" y="871"/>
                      <a:pt x="1644" y="953"/>
                      <a:pt x="1644" y="1054"/>
                    </a:cubicBezTo>
                    <a:lnTo>
                      <a:pt x="1644" y="1573"/>
                    </a:lnTo>
                    <a:lnTo>
                      <a:pt x="2163" y="1573"/>
                    </a:lnTo>
                    <a:cubicBezTo>
                      <a:pt x="2174" y="1573"/>
                      <a:pt x="2184" y="1571"/>
                      <a:pt x="2194" y="1568"/>
                    </a:cubicBezTo>
                    <a:cubicBezTo>
                      <a:pt x="2195" y="1568"/>
                      <a:pt x="2198" y="1567"/>
                      <a:pt x="2200" y="1567"/>
                    </a:cubicBezTo>
                    <a:cubicBezTo>
                      <a:pt x="2209" y="1563"/>
                      <a:pt x="2218" y="1558"/>
                      <a:pt x="2226" y="1554"/>
                    </a:cubicBezTo>
                    <a:cubicBezTo>
                      <a:pt x="2233" y="1549"/>
                      <a:pt x="2239" y="1543"/>
                      <a:pt x="2245" y="1537"/>
                    </a:cubicBezTo>
                    <a:cubicBezTo>
                      <a:pt x="2248" y="1535"/>
                      <a:pt x="2249" y="1534"/>
                      <a:pt x="2250" y="1531"/>
                    </a:cubicBezTo>
                    <a:cubicBezTo>
                      <a:pt x="2254" y="1526"/>
                      <a:pt x="2257" y="1523"/>
                      <a:pt x="2260" y="1518"/>
                    </a:cubicBezTo>
                    <a:cubicBezTo>
                      <a:pt x="2262" y="1514"/>
                      <a:pt x="2263" y="1512"/>
                      <a:pt x="2264" y="1508"/>
                    </a:cubicBezTo>
                    <a:cubicBezTo>
                      <a:pt x="2267" y="1504"/>
                      <a:pt x="2269" y="1499"/>
                      <a:pt x="2270" y="1494"/>
                    </a:cubicBezTo>
                    <a:cubicBezTo>
                      <a:pt x="2272" y="1490"/>
                      <a:pt x="2273" y="1488"/>
                      <a:pt x="2274" y="1484"/>
                    </a:cubicBezTo>
                    <a:cubicBezTo>
                      <a:pt x="2275" y="1477"/>
                      <a:pt x="2276" y="1470"/>
                      <a:pt x="2276" y="1462"/>
                    </a:cubicBezTo>
                    <a:cubicBezTo>
                      <a:pt x="2276" y="1461"/>
                      <a:pt x="2276" y="1461"/>
                      <a:pt x="2276" y="1459"/>
                    </a:cubicBezTo>
                    <a:cubicBezTo>
                      <a:pt x="2276" y="1432"/>
                      <a:pt x="2267" y="1408"/>
                      <a:pt x="2251" y="1388"/>
                    </a:cubicBezTo>
                    <a:cubicBezTo>
                      <a:pt x="2212" y="1345"/>
                      <a:pt x="2188" y="1287"/>
                      <a:pt x="2188" y="1223"/>
                    </a:cubicBezTo>
                    <a:cubicBezTo>
                      <a:pt x="2188" y="1117"/>
                      <a:pt x="2257" y="1027"/>
                      <a:pt x="2353" y="994"/>
                    </a:cubicBezTo>
                    <a:cubicBezTo>
                      <a:pt x="2378" y="985"/>
                      <a:pt x="2404" y="979"/>
                      <a:pt x="2432" y="979"/>
                    </a:cubicBezTo>
                    <a:cubicBezTo>
                      <a:pt x="2567" y="979"/>
                      <a:pt x="2676" y="1088"/>
                      <a:pt x="2676" y="1224"/>
                    </a:cubicBezTo>
                    <a:cubicBezTo>
                      <a:pt x="2676" y="1238"/>
                      <a:pt x="2674" y="1252"/>
                      <a:pt x="2672" y="1266"/>
                    </a:cubicBezTo>
                    <a:cubicBezTo>
                      <a:pt x="2672" y="1268"/>
                      <a:pt x="2671" y="1271"/>
                      <a:pt x="2671" y="1273"/>
                    </a:cubicBezTo>
                    <a:cubicBezTo>
                      <a:pt x="2668" y="1286"/>
                      <a:pt x="2665" y="1298"/>
                      <a:pt x="2660" y="1309"/>
                    </a:cubicBezTo>
                    <a:cubicBezTo>
                      <a:pt x="2660" y="1310"/>
                      <a:pt x="2659" y="1312"/>
                      <a:pt x="2659" y="1314"/>
                    </a:cubicBezTo>
                    <a:cubicBezTo>
                      <a:pt x="2655" y="1323"/>
                      <a:pt x="2650" y="1333"/>
                      <a:pt x="2644" y="1342"/>
                    </a:cubicBezTo>
                    <a:lnTo>
                      <a:pt x="2644" y="1343"/>
                    </a:lnTo>
                    <a:lnTo>
                      <a:pt x="2640" y="1351"/>
                    </a:lnTo>
                    <a:cubicBezTo>
                      <a:pt x="2633" y="1364"/>
                      <a:pt x="2623" y="1376"/>
                      <a:pt x="2613" y="1386"/>
                    </a:cubicBezTo>
                    <a:cubicBezTo>
                      <a:pt x="2605" y="1396"/>
                      <a:pt x="2599" y="1407"/>
                      <a:pt x="2594" y="1419"/>
                    </a:cubicBezTo>
                    <a:lnTo>
                      <a:pt x="2594" y="1420"/>
                    </a:lnTo>
                    <a:cubicBezTo>
                      <a:pt x="2594" y="1420"/>
                      <a:pt x="2594" y="1420"/>
                      <a:pt x="2594" y="1422"/>
                    </a:cubicBezTo>
                    <a:cubicBezTo>
                      <a:pt x="2590" y="1433"/>
                      <a:pt x="2587" y="1445"/>
                      <a:pt x="2587" y="1458"/>
                    </a:cubicBezTo>
                    <a:lnTo>
                      <a:pt x="2587" y="1459"/>
                    </a:lnTo>
                    <a:cubicBezTo>
                      <a:pt x="2587" y="1521"/>
                      <a:pt x="2638" y="1573"/>
                      <a:pt x="2701" y="1573"/>
                    </a:cubicBezTo>
                    <a:lnTo>
                      <a:pt x="3219" y="1573"/>
                    </a:lnTo>
                    <a:lnTo>
                      <a:pt x="3219" y="0"/>
                    </a:lnTo>
                    <a:lnTo>
                      <a:pt x="1644" y="0"/>
                    </a:lnTo>
                    <a:lnTo>
                      <a:pt x="1644" y="0"/>
                    </a:lnTo>
                    <a:close/>
                    <a:moveTo>
                      <a:pt x="2701" y="1644"/>
                    </a:moveTo>
                    <a:lnTo>
                      <a:pt x="2701" y="1644"/>
                    </a:lnTo>
                    <a:lnTo>
                      <a:pt x="3219" y="1644"/>
                    </a:lnTo>
                    <a:lnTo>
                      <a:pt x="3219" y="3218"/>
                    </a:lnTo>
                    <a:lnTo>
                      <a:pt x="1644" y="3218"/>
                    </a:lnTo>
                    <a:lnTo>
                      <a:pt x="1644" y="2699"/>
                    </a:lnTo>
                    <a:cubicBezTo>
                      <a:pt x="1644" y="2697"/>
                      <a:pt x="1644" y="2694"/>
                      <a:pt x="1645" y="2692"/>
                    </a:cubicBezTo>
                    <a:cubicBezTo>
                      <a:pt x="1645" y="2687"/>
                      <a:pt x="1645" y="2681"/>
                      <a:pt x="1647" y="2677"/>
                    </a:cubicBezTo>
                    <a:cubicBezTo>
                      <a:pt x="1647" y="2677"/>
                      <a:pt x="1647" y="2677"/>
                      <a:pt x="1647" y="2676"/>
                    </a:cubicBezTo>
                    <a:cubicBezTo>
                      <a:pt x="1648" y="2668"/>
                      <a:pt x="1650" y="2662"/>
                      <a:pt x="1653" y="2655"/>
                    </a:cubicBezTo>
                    <a:cubicBezTo>
                      <a:pt x="1655" y="2652"/>
                      <a:pt x="1657" y="2649"/>
                      <a:pt x="1659" y="2646"/>
                    </a:cubicBezTo>
                    <a:cubicBezTo>
                      <a:pt x="1661" y="2642"/>
                      <a:pt x="1662" y="2640"/>
                      <a:pt x="1663" y="2636"/>
                    </a:cubicBezTo>
                    <a:cubicBezTo>
                      <a:pt x="1684" y="2606"/>
                      <a:pt x="1718" y="2586"/>
                      <a:pt x="1758" y="2586"/>
                    </a:cubicBezTo>
                    <a:cubicBezTo>
                      <a:pt x="1786" y="2586"/>
                      <a:pt x="1813" y="2597"/>
                      <a:pt x="1832" y="2613"/>
                    </a:cubicBezTo>
                    <a:cubicBezTo>
                      <a:pt x="1839" y="2621"/>
                      <a:pt x="1847" y="2625"/>
                      <a:pt x="1856" y="2631"/>
                    </a:cubicBezTo>
                    <a:cubicBezTo>
                      <a:pt x="1859" y="2634"/>
                      <a:pt x="1862" y="2636"/>
                      <a:pt x="1866" y="2638"/>
                    </a:cubicBezTo>
                    <a:cubicBezTo>
                      <a:pt x="1875" y="2644"/>
                      <a:pt x="1886" y="2649"/>
                      <a:pt x="1895" y="2653"/>
                    </a:cubicBezTo>
                    <a:cubicBezTo>
                      <a:pt x="1899" y="2655"/>
                      <a:pt x="1902" y="2658"/>
                      <a:pt x="1906" y="2659"/>
                    </a:cubicBezTo>
                    <a:cubicBezTo>
                      <a:pt x="1915" y="2662"/>
                      <a:pt x="1927" y="2665"/>
                      <a:pt x="1938" y="2668"/>
                    </a:cubicBezTo>
                    <a:cubicBezTo>
                      <a:pt x="1942" y="2668"/>
                      <a:pt x="1944" y="2670"/>
                      <a:pt x="1948" y="2671"/>
                    </a:cubicBezTo>
                    <a:cubicBezTo>
                      <a:pt x="1963" y="2673"/>
                      <a:pt x="1979" y="2676"/>
                      <a:pt x="1994" y="2676"/>
                    </a:cubicBezTo>
                    <a:cubicBezTo>
                      <a:pt x="2128" y="2676"/>
                      <a:pt x="2238" y="2566"/>
                      <a:pt x="2238" y="2431"/>
                    </a:cubicBezTo>
                    <a:cubicBezTo>
                      <a:pt x="2238" y="2296"/>
                      <a:pt x="2128" y="2187"/>
                      <a:pt x="1994" y="2187"/>
                    </a:cubicBezTo>
                    <a:cubicBezTo>
                      <a:pt x="1930" y="2187"/>
                      <a:pt x="1871" y="2212"/>
                      <a:pt x="1828" y="2252"/>
                    </a:cubicBezTo>
                    <a:cubicBezTo>
                      <a:pt x="1808" y="2267"/>
                      <a:pt x="1784" y="2275"/>
                      <a:pt x="1758" y="2275"/>
                    </a:cubicBezTo>
                    <a:cubicBezTo>
                      <a:pt x="1696" y="2275"/>
                      <a:pt x="1644" y="2225"/>
                      <a:pt x="1644" y="2162"/>
                    </a:cubicBezTo>
                    <a:lnTo>
                      <a:pt x="1644" y="1644"/>
                    </a:lnTo>
                    <a:lnTo>
                      <a:pt x="2163" y="1644"/>
                    </a:lnTo>
                    <a:cubicBezTo>
                      <a:pt x="2165" y="1644"/>
                      <a:pt x="2168" y="1644"/>
                      <a:pt x="2170" y="1644"/>
                    </a:cubicBezTo>
                    <a:cubicBezTo>
                      <a:pt x="2178" y="1643"/>
                      <a:pt x="2187" y="1643"/>
                      <a:pt x="2195" y="1640"/>
                    </a:cubicBezTo>
                    <a:cubicBezTo>
                      <a:pt x="2200" y="1640"/>
                      <a:pt x="2203" y="1639"/>
                      <a:pt x="2207" y="1638"/>
                    </a:cubicBezTo>
                    <a:cubicBezTo>
                      <a:pt x="2214" y="1637"/>
                      <a:pt x="2221" y="1634"/>
                      <a:pt x="2227" y="1632"/>
                    </a:cubicBezTo>
                    <a:cubicBezTo>
                      <a:pt x="2231" y="1631"/>
                      <a:pt x="2235" y="1630"/>
                      <a:pt x="2238" y="1627"/>
                    </a:cubicBezTo>
                    <a:cubicBezTo>
                      <a:pt x="2248" y="1624"/>
                      <a:pt x="2255" y="1619"/>
                      <a:pt x="2263" y="1614"/>
                    </a:cubicBezTo>
                    <a:cubicBezTo>
                      <a:pt x="2275" y="1606"/>
                      <a:pt x="2287" y="1596"/>
                      <a:pt x="2297" y="1585"/>
                    </a:cubicBezTo>
                    <a:cubicBezTo>
                      <a:pt x="2299" y="1583"/>
                      <a:pt x="2301" y="1581"/>
                      <a:pt x="2304" y="1577"/>
                    </a:cubicBezTo>
                    <a:cubicBezTo>
                      <a:pt x="2310" y="1570"/>
                      <a:pt x="2316" y="1561"/>
                      <a:pt x="2321" y="1553"/>
                    </a:cubicBezTo>
                    <a:cubicBezTo>
                      <a:pt x="2323" y="1549"/>
                      <a:pt x="2325" y="1545"/>
                      <a:pt x="2328" y="1541"/>
                    </a:cubicBezTo>
                    <a:cubicBezTo>
                      <a:pt x="2331" y="1533"/>
                      <a:pt x="2335" y="1523"/>
                      <a:pt x="2339" y="1515"/>
                    </a:cubicBezTo>
                    <a:cubicBezTo>
                      <a:pt x="2340" y="1510"/>
                      <a:pt x="2341" y="1506"/>
                      <a:pt x="2342" y="1502"/>
                    </a:cubicBezTo>
                    <a:cubicBezTo>
                      <a:pt x="2344" y="1490"/>
                      <a:pt x="2347" y="1478"/>
                      <a:pt x="2347" y="1465"/>
                    </a:cubicBezTo>
                    <a:cubicBezTo>
                      <a:pt x="2347" y="1462"/>
                      <a:pt x="2347" y="1461"/>
                      <a:pt x="2347" y="1460"/>
                    </a:cubicBezTo>
                    <a:cubicBezTo>
                      <a:pt x="2347" y="1451"/>
                      <a:pt x="2346" y="1442"/>
                      <a:pt x="2346" y="1436"/>
                    </a:cubicBezTo>
                    <a:cubicBezTo>
                      <a:pt x="2346" y="1436"/>
                      <a:pt x="2346" y="1432"/>
                      <a:pt x="2344" y="1428"/>
                    </a:cubicBezTo>
                    <a:cubicBezTo>
                      <a:pt x="2342" y="1418"/>
                      <a:pt x="2341" y="1412"/>
                      <a:pt x="2340" y="1409"/>
                    </a:cubicBezTo>
                    <a:cubicBezTo>
                      <a:pt x="2340" y="1408"/>
                      <a:pt x="2339" y="1403"/>
                      <a:pt x="2336" y="1396"/>
                    </a:cubicBezTo>
                    <a:cubicBezTo>
                      <a:pt x="2333" y="1388"/>
                      <a:pt x="2330" y="1382"/>
                      <a:pt x="2329" y="1380"/>
                    </a:cubicBezTo>
                    <a:cubicBezTo>
                      <a:pt x="2328" y="1379"/>
                      <a:pt x="2327" y="1375"/>
                      <a:pt x="2323" y="1369"/>
                    </a:cubicBezTo>
                    <a:lnTo>
                      <a:pt x="2323" y="1368"/>
                    </a:lnTo>
                    <a:cubicBezTo>
                      <a:pt x="2322" y="1367"/>
                      <a:pt x="2322" y="1367"/>
                      <a:pt x="2322" y="1367"/>
                    </a:cubicBezTo>
                    <a:cubicBezTo>
                      <a:pt x="2318" y="1360"/>
                      <a:pt x="2315" y="1356"/>
                      <a:pt x="2312" y="1353"/>
                    </a:cubicBezTo>
                    <a:cubicBezTo>
                      <a:pt x="2312" y="1353"/>
                      <a:pt x="2310" y="1349"/>
                      <a:pt x="2306" y="1344"/>
                    </a:cubicBezTo>
                    <a:cubicBezTo>
                      <a:pt x="2306" y="1344"/>
                      <a:pt x="2306" y="1343"/>
                      <a:pt x="2305" y="1343"/>
                    </a:cubicBezTo>
                    <a:cubicBezTo>
                      <a:pt x="2305" y="1343"/>
                      <a:pt x="2305" y="1343"/>
                      <a:pt x="2305" y="1342"/>
                    </a:cubicBezTo>
                    <a:cubicBezTo>
                      <a:pt x="2305" y="1343"/>
                      <a:pt x="2304" y="1341"/>
                      <a:pt x="2301" y="1338"/>
                    </a:cubicBezTo>
                    <a:cubicBezTo>
                      <a:pt x="2275" y="1307"/>
                      <a:pt x="2258" y="1268"/>
                      <a:pt x="2258" y="1225"/>
                    </a:cubicBezTo>
                    <a:cubicBezTo>
                      <a:pt x="2258" y="1166"/>
                      <a:pt x="2287" y="1116"/>
                      <a:pt x="2330" y="1085"/>
                    </a:cubicBezTo>
                    <a:cubicBezTo>
                      <a:pt x="2359" y="1064"/>
                      <a:pt x="2394" y="1050"/>
                      <a:pt x="2432" y="1050"/>
                    </a:cubicBezTo>
                    <a:cubicBezTo>
                      <a:pt x="2527" y="1050"/>
                      <a:pt x="2605" y="1128"/>
                      <a:pt x="2605" y="1224"/>
                    </a:cubicBezTo>
                    <a:cubicBezTo>
                      <a:pt x="2605" y="1224"/>
                      <a:pt x="2605" y="1225"/>
                      <a:pt x="2605" y="1226"/>
                    </a:cubicBezTo>
                    <a:cubicBezTo>
                      <a:pt x="2605" y="1240"/>
                      <a:pt x="2603" y="1253"/>
                      <a:pt x="2599" y="1267"/>
                    </a:cubicBezTo>
                    <a:cubicBezTo>
                      <a:pt x="2599" y="1270"/>
                      <a:pt x="2598" y="1274"/>
                      <a:pt x="2597" y="1277"/>
                    </a:cubicBezTo>
                    <a:cubicBezTo>
                      <a:pt x="2592" y="1290"/>
                      <a:pt x="2587" y="1304"/>
                      <a:pt x="2580" y="1316"/>
                    </a:cubicBezTo>
                    <a:lnTo>
                      <a:pt x="2579" y="1317"/>
                    </a:lnTo>
                    <a:cubicBezTo>
                      <a:pt x="2576" y="1322"/>
                      <a:pt x="2573" y="1325"/>
                      <a:pt x="2569" y="1329"/>
                    </a:cubicBezTo>
                    <a:cubicBezTo>
                      <a:pt x="2568" y="1331"/>
                      <a:pt x="2566" y="1333"/>
                      <a:pt x="2563" y="1337"/>
                    </a:cubicBezTo>
                    <a:cubicBezTo>
                      <a:pt x="2561" y="1339"/>
                      <a:pt x="2560" y="1342"/>
                      <a:pt x="2560" y="1343"/>
                    </a:cubicBezTo>
                    <a:cubicBezTo>
                      <a:pt x="2554" y="1349"/>
                      <a:pt x="2551" y="1354"/>
                      <a:pt x="2551" y="1354"/>
                    </a:cubicBezTo>
                    <a:cubicBezTo>
                      <a:pt x="2549" y="1356"/>
                      <a:pt x="2546" y="1360"/>
                      <a:pt x="2544" y="1365"/>
                    </a:cubicBezTo>
                    <a:cubicBezTo>
                      <a:pt x="2543" y="1365"/>
                      <a:pt x="2543" y="1366"/>
                      <a:pt x="2542" y="1367"/>
                    </a:cubicBezTo>
                    <a:cubicBezTo>
                      <a:pt x="2538" y="1374"/>
                      <a:pt x="2536" y="1379"/>
                      <a:pt x="2535" y="1381"/>
                    </a:cubicBezTo>
                    <a:cubicBezTo>
                      <a:pt x="2535" y="1382"/>
                      <a:pt x="2532" y="1387"/>
                      <a:pt x="2531" y="1390"/>
                    </a:cubicBezTo>
                    <a:cubicBezTo>
                      <a:pt x="2530" y="1392"/>
                      <a:pt x="2529" y="1394"/>
                      <a:pt x="2527" y="1397"/>
                    </a:cubicBezTo>
                    <a:cubicBezTo>
                      <a:pt x="2526" y="1404"/>
                      <a:pt x="2525" y="1408"/>
                      <a:pt x="2524" y="1410"/>
                    </a:cubicBezTo>
                    <a:cubicBezTo>
                      <a:pt x="2524" y="1411"/>
                      <a:pt x="2524" y="1412"/>
                      <a:pt x="2524" y="1413"/>
                    </a:cubicBezTo>
                    <a:cubicBezTo>
                      <a:pt x="2523" y="1415"/>
                      <a:pt x="2523" y="1417"/>
                      <a:pt x="2521" y="1421"/>
                    </a:cubicBezTo>
                    <a:cubicBezTo>
                      <a:pt x="2520" y="1424"/>
                      <a:pt x="2520" y="1426"/>
                      <a:pt x="2519" y="1430"/>
                    </a:cubicBezTo>
                    <a:cubicBezTo>
                      <a:pt x="2519" y="1435"/>
                      <a:pt x="2519" y="1440"/>
                      <a:pt x="2518" y="1441"/>
                    </a:cubicBezTo>
                    <a:cubicBezTo>
                      <a:pt x="2518" y="1443"/>
                      <a:pt x="2517" y="1449"/>
                      <a:pt x="2517" y="1458"/>
                    </a:cubicBezTo>
                    <a:cubicBezTo>
                      <a:pt x="2517" y="1459"/>
                      <a:pt x="2517" y="1459"/>
                      <a:pt x="2517" y="1460"/>
                    </a:cubicBezTo>
                    <a:cubicBezTo>
                      <a:pt x="2517" y="1561"/>
                      <a:pt x="2599" y="1644"/>
                      <a:pt x="2701" y="1644"/>
                    </a:cubicBez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dirty="0"/>
              </a:p>
            </p:txBody>
          </p:sp>
        </p:grpSp>
      </p:grpSp>
      <p:grpSp>
        <p:nvGrpSpPr>
          <p:cNvPr id="15" name="Gruppieren 14"/>
          <p:cNvGrpSpPr/>
          <p:nvPr/>
        </p:nvGrpSpPr>
        <p:grpSpPr>
          <a:xfrm>
            <a:off x="8832305" y="1860079"/>
            <a:ext cx="2640558" cy="4062947"/>
            <a:chOff x="8832304" y="1860079"/>
            <a:chExt cx="2640558" cy="4062947"/>
          </a:xfrm>
        </p:grpSpPr>
        <p:grpSp>
          <p:nvGrpSpPr>
            <p:cNvPr id="51" name="Gruppieren 50"/>
            <p:cNvGrpSpPr/>
            <p:nvPr/>
          </p:nvGrpSpPr>
          <p:grpSpPr>
            <a:xfrm>
              <a:off x="9280041" y="3054924"/>
              <a:ext cx="459759" cy="2868102"/>
              <a:chOff x="7740980" y="2751893"/>
              <a:chExt cx="801849" cy="3882732"/>
            </a:xfrm>
          </p:grpSpPr>
          <p:sp>
            <p:nvSpPr>
              <p:cNvPr id="53" name="Rechteck 52"/>
              <p:cNvSpPr/>
              <p:nvPr/>
            </p:nvSpPr>
            <p:spPr bwMode="auto">
              <a:xfrm>
                <a:off x="7968208" y="6323718"/>
                <a:ext cx="530045" cy="310907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hteck 53"/>
              <p:cNvSpPr/>
              <p:nvPr/>
            </p:nvSpPr>
            <p:spPr bwMode="auto">
              <a:xfrm>
                <a:off x="7896200" y="5531630"/>
                <a:ext cx="530045" cy="310907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hteck 54"/>
              <p:cNvSpPr/>
              <p:nvPr/>
            </p:nvSpPr>
            <p:spPr bwMode="auto">
              <a:xfrm>
                <a:off x="7896200" y="4523518"/>
                <a:ext cx="530045" cy="310907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Rechteck 55"/>
              <p:cNvSpPr/>
              <p:nvPr/>
            </p:nvSpPr>
            <p:spPr bwMode="auto">
              <a:xfrm>
                <a:off x="7824192" y="3731430"/>
                <a:ext cx="530045" cy="215205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Rechteck 56"/>
              <p:cNvSpPr/>
              <p:nvPr/>
            </p:nvSpPr>
            <p:spPr bwMode="auto">
              <a:xfrm>
                <a:off x="7870211" y="2751893"/>
                <a:ext cx="530045" cy="215205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Gleichschenkliges Dreieck 57"/>
              <p:cNvSpPr/>
              <p:nvPr/>
            </p:nvSpPr>
            <p:spPr bwMode="auto">
              <a:xfrm>
                <a:off x="7740980" y="2751893"/>
                <a:ext cx="255803" cy="235498"/>
              </a:xfrm>
              <a:prstGeom prst="triangl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Rechteck 58"/>
              <p:cNvSpPr/>
              <p:nvPr/>
            </p:nvSpPr>
            <p:spPr bwMode="auto">
              <a:xfrm>
                <a:off x="7986441" y="4785431"/>
                <a:ext cx="556388" cy="368885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Rechteck 59"/>
              <p:cNvSpPr/>
              <p:nvPr/>
            </p:nvSpPr>
            <p:spPr bwMode="auto">
              <a:xfrm>
                <a:off x="7935944" y="3291911"/>
                <a:ext cx="530045" cy="240701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Rechteck 60"/>
              <p:cNvSpPr/>
              <p:nvPr/>
            </p:nvSpPr>
            <p:spPr bwMode="auto">
              <a:xfrm>
                <a:off x="7968208" y="6323718"/>
                <a:ext cx="530045" cy="310907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hteck 61"/>
              <p:cNvSpPr/>
              <p:nvPr/>
            </p:nvSpPr>
            <p:spPr bwMode="auto">
              <a:xfrm>
                <a:off x="7896200" y="5531630"/>
                <a:ext cx="530045" cy="310907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hteck 62"/>
              <p:cNvSpPr/>
              <p:nvPr/>
            </p:nvSpPr>
            <p:spPr bwMode="auto">
              <a:xfrm>
                <a:off x="7896200" y="4523518"/>
                <a:ext cx="530045" cy="310907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Rechteck 63"/>
              <p:cNvSpPr/>
              <p:nvPr/>
            </p:nvSpPr>
            <p:spPr bwMode="auto">
              <a:xfrm>
                <a:off x="7824192" y="3731430"/>
                <a:ext cx="530045" cy="215205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Rechteck 64"/>
              <p:cNvSpPr/>
              <p:nvPr/>
            </p:nvSpPr>
            <p:spPr bwMode="auto">
              <a:xfrm>
                <a:off x="7870211" y="2751893"/>
                <a:ext cx="530045" cy="215205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Gleichschenkliges Dreieck 65"/>
              <p:cNvSpPr/>
              <p:nvPr/>
            </p:nvSpPr>
            <p:spPr bwMode="auto">
              <a:xfrm>
                <a:off x="7740980" y="2751893"/>
                <a:ext cx="255803" cy="235498"/>
              </a:xfrm>
              <a:prstGeom prst="triangl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Rechteck 66"/>
              <p:cNvSpPr/>
              <p:nvPr/>
            </p:nvSpPr>
            <p:spPr bwMode="auto">
              <a:xfrm>
                <a:off x="7986441" y="4785431"/>
                <a:ext cx="556388" cy="368885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hteck 67"/>
              <p:cNvSpPr/>
              <p:nvPr/>
            </p:nvSpPr>
            <p:spPr bwMode="auto">
              <a:xfrm>
                <a:off x="7935944" y="3291911"/>
                <a:ext cx="530045" cy="240701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" name="Gruppieren 9"/>
            <p:cNvGrpSpPr/>
            <p:nvPr/>
          </p:nvGrpSpPr>
          <p:grpSpPr>
            <a:xfrm>
              <a:off x="8832304" y="1860079"/>
              <a:ext cx="2640558" cy="360000"/>
              <a:chOff x="8832304" y="1860079"/>
              <a:chExt cx="2640558" cy="360000"/>
            </a:xfrm>
          </p:grpSpPr>
          <p:grpSp>
            <p:nvGrpSpPr>
              <p:cNvPr id="85" name="Gruppieren 84"/>
              <p:cNvGrpSpPr/>
              <p:nvPr/>
            </p:nvGrpSpPr>
            <p:grpSpPr>
              <a:xfrm>
                <a:off x="8832304" y="1860079"/>
                <a:ext cx="2640558" cy="360000"/>
                <a:chOff x="426036" y="1860079"/>
                <a:chExt cx="2640558" cy="360000"/>
              </a:xfrm>
            </p:grpSpPr>
            <p:sp>
              <p:nvSpPr>
                <p:cNvPr id="98" name="AutoShape 3"/>
                <p:cNvSpPr>
                  <a:spLocks noChangeArrowheads="1"/>
                </p:cNvSpPr>
                <p:nvPr/>
              </p:nvSpPr>
              <p:spPr bwMode="auto">
                <a:xfrm>
                  <a:off x="504136" y="1886363"/>
                  <a:ext cx="2562458" cy="307433"/>
                </a:xfrm>
                <a:prstGeom prst="roundRect">
                  <a:avLst>
                    <a:gd name="adj" fmla="val 0"/>
                  </a:avLst>
                </a:prstGeom>
                <a:solidFill>
                  <a:srgbClr val="FF6600"/>
                </a:solidFill>
                <a:ln w="0" algn="ctr">
                  <a:noFill/>
                  <a:round/>
                </a:ln>
                <a:effectLst/>
              </p:spPr>
              <p:txBody>
                <a:bodyPr lIns="360000" tIns="0" rIns="36000" bIns="0" anchor="ctr"/>
                <a:lstStyle/>
                <a:p>
                  <a:pPr defTabSz="762000" eaLnBrk="0" hangingPunct="0">
                    <a:lnSpc>
                      <a:spcPct val="90000"/>
                    </a:lnSpc>
                    <a:buClr>
                      <a:srgbClr val="BFBFBF"/>
                    </a:buClr>
                  </a:pPr>
                  <a:r>
                    <a:rPr lang="ru-RU" altLang="zh-CN" b="1" dirty="0">
                      <a:solidFill>
                        <a:srgbClr val="FFFFFF"/>
                      </a:solidFill>
                      <a:latin typeface="Calibri" panose="020F0502020204030204" pitchFamily="34" charset="0"/>
                    </a:rPr>
                    <a:t>Изображения</a:t>
                  </a:r>
                  <a:endParaRPr lang="en-US" altLang="zh-CN" b="1" dirty="0">
                    <a:solidFill>
                      <a:srgbClr val="FFFFFF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99" name="AutoShape 3"/>
                <p:cNvSpPr>
                  <a:spLocks noChangeArrowheads="1"/>
                </p:cNvSpPr>
                <p:nvPr/>
              </p:nvSpPr>
              <p:spPr bwMode="auto">
                <a:xfrm>
                  <a:off x="426036" y="1860079"/>
                  <a:ext cx="360000" cy="360000"/>
                </a:xfrm>
                <a:prstGeom prst="ellipse">
                  <a:avLst/>
                </a:prstGeom>
                <a:solidFill>
                  <a:schemeClr val="bg1"/>
                </a:solidFill>
                <a:ln w="0" algn="ctr">
                  <a:solidFill>
                    <a:schemeClr val="accent1"/>
                  </a:solidFill>
                  <a:round/>
                </a:ln>
                <a:effectLst/>
              </p:spPr>
              <p:txBody>
                <a:bodyPr wrap="none" lIns="0" tIns="36000" rIns="0" bIns="36000" anchor="ctr">
                  <a:noAutofit/>
                </a:bodyPr>
                <a:lstStyle/>
                <a:p>
                  <a:pPr algn="ctr" defTabSz="762000" eaLnBrk="0" hangingPunct="0">
                    <a:lnSpc>
                      <a:spcPct val="90000"/>
                    </a:lnSpc>
                    <a:buClr>
                      <a:srgbClr val="BFBFBF"/>
                    </a:buClr>
                  </a:pPr>
                  <a:r>
                    <a:rPr lang="en-US" altLang="zh-CN" sz="1600" b="1" dirty="0">
                      <a:solidFill>
                        <a:schemeClr val="accent1"/>
                      </a:solidFill>
                      <a:latin typeface="Calibri" panose="020F0502020204030204" pitchFamily="34" charset="0"/>
                    </a:rPr>
                    <a:t> 4.</a:t>
                  </a:r>
                  <a:endParaRPr lang="en-US" altLang="zh-CN" sz="1600" b="1" dirty="0">
                    <a:solidFill>
                      <a:schemeClr val="accent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sp>
            <p:nvSpPr>
              <p:cNvPr id="101" name="Freeform 231"/>
              <p:cNvSpPr>
                <a:spLocks noChangeAspect="1" noEditPoints="1"/>
              </p:cNvSpPr>
              <p:nvPr/>
            </p:nvSpPr>
            <p:spPr bwMode="auto">
              <a:xfrm>
                <a:off x="11157168" y="1905079"/>
                <a:ext cx="284465" cy="270000"/>
              </a:xfrm>
              <a:custGeom>
                <a:avLst/>
                <a:gdLst>
                  <a:gd name="T0" fmla="*/ 140 w 164"/>
                  <a:gd name="T1" fmla="*/ 51 h 155"/>
                  <a:gd name="T2" fmla="*/ 124 w 164"/>
                  <a:gd name="T3" fmla="*/ 5 h 155"/>
                  <a:gd name="T4" fmla="*/ 116 w 164"/>
                  <a:gd name="T5" fmla="*/ 1 h 155"/>
                  <a:gd name="T6" fmla="*/ 5 w 164"/>
                  <a:gd name="T7" fmla="*/ 41 h 155"/>
                  <a:gd name="T8" fmla="*/ 1 w 164"/>
                  <a:gd name="T9" fmla="*/ 50 h 155"/>
                  <a:gd name="T10" fmla="*/ 19 w 164"/>
                  <a:gd name="T11" fmla="*/ 98 h 155"/>
                  <a:gd name="T12" fmla="*/ 19 w 164"/>
                  <a:gd name="T13" fmla="*/ 72 h 155"/>
                  <a:gd name="T14" fmla="*/ 40 w 164"/>
                  <a:gd name="T15" fmla="*/ 51 h 155"/>
                  <a:gd name="T16" fmla="*/ 69 w 164"/>
                  <a:gd name="T17" fmla="*/ 51 h 155"/>
                  <a:gd name="T18" fmla="*/ 104 w 164"/>
                  <a:gd name="T19" fmla="*/ 26 h 155"/>
                  <a:gd name="T20" fmla="*/ 124 w 164"/>
                  <a:gd name="T21" fmla="*/ 51 h 155"/>
                  <a:gd name="T22" fmla="*/ 140 w 164"/>
                  <a:gd name="T23" fmla="*/ 51 h 155"/>
                  <a:gd name="T24" fmla="*/ 158 w 164"/>
                  <a:gd name="T25" fmla="*/ 66 h 155"/>
                  <a:gd name="T26" fmla="*/ 40 w 164"/>
                  <a:gd name="T27" fmla="*/ 66 h 155"/>
                  <a:gd name="T28" fmla="*/ 33 w 164"/>
                  <a:gd name="T29" fmla="*/ 72 h 155"/>
                  <a:gd name="T30" fmla="*/ 33 w 164"/>
                  <a:gd name="T31" fmla="*/ 149 h 155"/>
                  <a:gd name="T32" fmla="*/ 40 w 164"/>
                  <a:gd name="T33" fmla="*/ 155 h 155"/>
                  <a:gd name="T34" fmla="*/ 158 w 164"/>
                  <a:gd name="T35" fmla="*/ 155 h 155"/>
                  <a:gd name="T36" fmla="*/ 164 w 164"/>
                  <a:gd name="T37" fmla="*/ 149 h 155"/>
                  <a:gd name="T38" fmla="*/ 164 w 164"/>
                  <a:gd name="T39" fmla="*/ 72 h 155"/>
                  <a:gd name="T40" fmla="*/ 158 w 164"/>
                  <a:gd name="T41" fmla="*/ 66 h 155"/>
                  <a:gd name="T42" fmla="*/ 149 w 164"/>
                  <a:gd name="T43" fmla="*/ 139 h 155"/>
                  <a:gd name="T44" fmla="*/ 51 w 164"/>
                  <a:gd name="T45" fmla="*/ 139 h 155"/>
                  <a:gd name="T46" fmla="*/ 51 w 164"/>
                  <a:gd name="T47" fmla="*/ 125 h 155"/>
                  <a:gd name="T48" fmla="*/ 66 w 164"/>
                  <a:gd name="T49" fmla="*/ 90 h 155"/>
                  <a:gd name="T50" fmla="*/ 88 w 164"/>
                  <a:gd name="T51" fmla="*/ 118 h 155"/>
                  <a:gd name="T52" fmla="*/ 110 w 164"/>
                  <a:gd name="T53" fmla="*/ 96 h 155"/>
                  <a:gd name="T54" fmla="*/ 137 w 164"/>
                  <a:gd name="T55" fmla="*/ 87 h 155"/>
                  <a:gd name="T56" fmla="*/ 149 w 164"/>
                  <a:gd name="T57" fmla="*/ 113 h 155"/>
                  <a:gd name="T58" fmla="*/ 149 w 164"/>
                  <a:gd name="T59" fmla="*/ 139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64" h="155">
                    <a:moveTo>
                      <a:pt x="140" y="51"/>
                    </a:moveTo>
                    <a:cubicBezTo>
                      <a:pt x="124" y="5"/>
                      <a:pt x="124" y="5"/>
                      <a:pt x="124" y="5"/>
                    </a:cubicBezTo>
                    <a:cubicBezTo>
                      <a:pt x="123" y="1"/>
                      <a:pt x="119" y="0"/>
                      <a:pt x="116" y="1"/>
                    </a:cubicBezTo>
                    <a:cubicBezTo>
                      <a:pt x="5" y="41"/>
                      <a:pt x="5" y="41"/>
                      <a:pt x="5" y="41"/>
                    </a:cubicBezTo>
                    <a:cubicBezTo>
                      <a:pt x="2" y="42"/>
                      <a:pt x="0" y="46"/>
                      <a:pt x="1" y="50"/>
                    </a:cubicBezTo>
                    <a:cubicBezTo>
                      <a:pt x="19" y="98"/>
                      <a:pt x="19" y="98"/>
                      <a:pt x="19" y="98"/>
                    </a:cubicBezTo>
                    <a:cubicBezTo>
                      <a:pt x="19" y="72"/>
                      <a:pt x="19" y="72"/>
                      <a:pt x="19" y="72"/>
                    </a:cubicBezTo>
                    <a:cubicBezTo>
                      <a:pt x="19" y="60"/>
                      <a:pt x="28" y="51"/>
                      <a:pt x="40" y="51"/>
                    </a:cubicBezTo>
                    <a:cubicBezTo>
                      <a:pt x="69" y="51"/>
                      <a:pt x="69" y="51"/>
                      <a:pt x="69" y="51"/>
                    </a:cubicBezTo>
                    <a:cubicBezTo>
                      <a:pt x="104" y="26"/>
                      <a:pt x="104" y="26"/>
                      <a:pt x="104" y="26"/>
                    </a:cubicBezTo>
                    <a:cubicBezTo>
                      <a:pt x="124" y="51"/>
                      <a:pt x="124" y="51"/>
                      <a:pt x="124" y="51"/>
                    </a:cubicBezTo>
                    <a:lnTo>
                      <a:pt x="140" y="51"/>
                    </a:lnTo>
                    <a:close/>
                    <a:moveTo>
                      <a:pt x="158" y="66"/>
                    </a:moveTo>
                    <a:cubicBezTo>
                      <a:pt x="40" y="66"/>
                      <a:pt x="40" y="66"/>
                      <a:pt x="40" y="66"/>
                    </a:cubicBezTo>
                    <a:cubicBezTo>
                      <a:pt x="36" y="66"/>
                      <a:pt x="33" y="68"/>
                      <a:pt x="33" y="72"/>
                    </a:cubicBezTo>
                    <a:cubicBezTo>
                      <a:pt x="33" y="149"/>
                      <a:pt x="33" y="149"/>
                      <a:pt x="33" y="149"/>
                    </a:cubicBezTo>
                    <a:cubicBezTo>
                      <a:pt x="33" y="153"/>
                      <a:pt x="36" y="155"/>
                      <a:pt x="40" y="155"/>
                    </a:cubicBezTo>
                    <a:cubicBezTo>
                      <a:pt x="158" y="155"/>
                      <a:pt x="158" y="155"/>
                      <a:pt x="158" y="155"/>
                    </a:cubicBezTo>
                    <a:cubicBezTo>
                      <a:pt x="161" y="155"/>
                      <a:pt x="164" y="153"/>
                      <a:pt x="164" y="149"/>
                    </a:cubicBezTo>
                    <a:cubicBezTo>
                      <a:pt x="164" y="72"/>
                      <a:pt x="164" y="72"/>
                      <a:pt x="164" y="72"/>
                    </a:cubicBezTo>
                    <a:cubicBezTo>
                      <a:pt x="164" y="68"/>
                      <a:pt x="161" y="66"/>
                      <a:pt x="158" y="66"/>
                    </a:cubicBezTo>
                    <a:close/>
                    <a:moveTo>
                      <a:pt x="149" y="139"/>
                    </a:moveTo>
                    <a:cubicBezTo>
                      <a:pt x="51" y="139"/>
                      <a:pt x="51" y="139"/>
                      <a:pt x="51" y="139"/>
                    </a:cubicBezTo>
                    <a:cubicBezTo>
                      <a:pt x="51" y="125"/>
                      <a:pt x="51" y="125"/>
                      <a:pt x="51" y="125"/>
                    </a:cubicBezTo>
                    <a:cubicBezTo>
                      <a:pt x="66" y="90"/>
                      <a:pt x="66" y="90"/>
                      <a:pt x="66" y="90"/>
                    </a:cubicBezTo>
                    <a:cubicBezTo>
                      <a:pt x="88" y="118"/>
                      <a:pt x="88" y="118"/>
                      <a:pt x="88" y="118"/>
                    </a:cubicBezTo>
                    <a:cubicBezTo>
                      <a:pt x="110" y="96"/>
                      <a:pt x="110" y="96"/>
                      <a:pt x="110" y="96"/>
                    </a:cubicBezTo>
                    <a:cubicBezTo>
                      <a:pt x="137" y="87"/>
                      <a:pt x="137" y="87"/>
                      <a:pt x="137" y="87"/>
                    </a:cubicBezTo>
                    <a:cubicBezTo>
                      <a:pt x="149" y="113"/>
                      <a:pt x="149" y="113"/>
                      <a:pt x="149" y="113"/>
                    </a:cubicBezTo>
                    <a:lnTo>
                      <a:pt x="149" y="13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97460" y="2301383"/>
            <a:ext cx="1575403" cy="1300194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76277" y="2295511"/>
            <a:ext cx="1501480" cy="1300194"/>
          </a:xfrm>
          <a:prstGeom prst="rect">
            <a:avLst/>
          </a:prstGeom>
        </p:spPr>
      </p:pic>
      <p:sp>
        <p:nvSpPr>
          <p:cNvPr id="14" name="Rectangle 1"/>
          <p:cNvSpPr>
            <a:spLocks noChangeArrowheads="1"/>
          </p:cNvSpPr>
          <p:nvPr/>
        </p:nvSpPr>
        <p:spPr bwMode="auto">
          <a:xfrm>
            <a:off x="2946400" y="1814513"/>
            <a:ext cx="12939490" cy="214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ru-RU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4496" y="4167474"/>
            <a:ext cx="5797438" cy="2626964"/>
          </a:xfrm>
          <a:prstGeom prst="rect">
            <a:avLst/>
          </a:prstGeom>
        </p:spPr>
      </p:pic>
      <p:sp>
        <p:nvSpPr>
          <p:cNvPr id="17" name="Textfeld 25"/>
          <p:cNvSpPr txBox="1"/>
          <p:nvPr/>
        </p:nvSpPr>
        <p:spPr>
          <a:xfrm>
            <a:off x="6055908" y="2291929"/>
            <a:ext cx="2640558" cy="523220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altLang="zh-CN" sz="1100" dirty="0"/>
              <a:t>Июль 2025</a:t>
            </a:r>
            <a:endParaRPr lang="en-US" altLang="zh-CN" sz="1100" dirty="0"/>
          </a:p>
          <a:p>
            <a:pPr>
              <a:spcAft>
                <a:spcPts val="600"/>
              </a:spcAft>
            </a:pPr>
            <a:endParaRPr lang="en-US" altLang="zh-CN" sz="120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Folie" r:id="rId2" imgW="12700" imgH="12700" progId="TCLayout.ActiveDocument.1">
                  <p:embed/>
                </p:oleObj>
              </mc:Choice>
              <mc:Fallback>
                <p:oleObj name="think-cell Folie" r:id="rId2" imgW="12700" imgH="12700" progId="TCLayout.ActiveDocument.1">
                  <p:embed/>
                  <p:pic>
                    <p:nvPicPr>
                      <p:cNvPr id="0" name="Objekt 15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15937" y="908720"/>
            <a:ext cx="11196687" cy="677491"/>
          </a:xfrm>
        </p:spPr>
        <p:txBody>
          <a:bodyPr/>
          <a:lstStyle/>
          <a:p>
            <a:r>
              <a:rPr lang="ru-RU" dirty="0" err="1"/>
              <a:t>Даунлайты</a:t>
            </a:r>
            <a:r>
              <a:rPr lang="ru-RU" dirty="0"/>
              <a:t> </a:t>
            </a:r>
            <a:r>
              <a:rPr lang="en-US" dirty="0"/>
              <a:t>LEDVANCE DL IP20 </a:t>
            </a:r>
            <a:endParaRPr lang="en-US" dirty="0"/>
          </a:p>
        </p:txBody>
      </p:sp>
      <p:sp>
        <p:nvSpPr>
          <p:cNvPr id="14" name="Rectangle 1"/>
          <p:cNvSpPr>
            <a:spLocks noChangeArrowheads="1"/>
          </p:cNvSpPr>
          <p:nvPr/>
        </p:nvSpPr>
        <p:spPr bwMode="auto">
          <a:xfrm>
            <a:off x="2946400" y="1814513"/>
            <a:ext cx="12939490" cy="214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ru-RU"/>
          </a:p>
        </p:txBody>
      </p:sp>
      <p:sp>
        <p:nvSpPr>
          <p:cNvPr id="4" name="Titel 1"/>
          <p:cNvSpPr txBox="1"/>
          <p:nvPr/>
        </p:nvSpPr>
        <p:spPr bwMode="gray">
          <a:xfrm>
            <a:off x="497656" y="1527285"/>
            <a:ext cx="11196687" cy="67749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2400" b="1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Артикулы к заказу</a:t>
            </a:r>
            <a:endParaRPr lang="en-US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431426" y="2609476"/>
          <a:ext cx="4838700" cy="3048000"/>
        </p:xfrm>
        <a:graphic>
          <a:graphicData uri="http://schemas.openxmlformats.org/drawingml/2006/table">
            <a:tbl>
              <a:tblPr/>
              <a:tblGrid>
                <a:gridCol w="1625600"/>
                <a:gridCol w="3213100"/>
              </a:tblGrid>
              <a:tr h="7620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AN</a:t>
                      </a:r>
                      <a:endParaRPr lang="en-US" sz="11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Наименование продукта</a:t>
                      </a:r>
                      <a:endParaRPr lang="ru-RU" sz="11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719423548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IP20 9W 830 1X10X40 RU LEDV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719423549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IP20 9W 840 1X10X40 RU LEDV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719423550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IP20 9W 865 1X10X40 RU LEDV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719423551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IP20 12W 830 1X10X40 RU LEDV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719423552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IP20 12W 840 1X10X40 RU LEDV 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719423553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IP20 12W 865 1X10X40 RU LEDV 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719423554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IP20 18W 830 1X10X40 RU LEDV 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719423555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IP20 18W 840 1X10X40 RU LEDV 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719423556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IP20 18W 865 1X10X40 RU LEDV 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719423557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IP20 24W 830 1X10X40 RU LEDV 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719423558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IP20 24W 840 1X10X40 RU LEDV </a:t>
                      </a:r>
                      <a:endParaRPr lang="pl-P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719423559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IP20 24W 865 1X10X40 RU LEDV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88754" y="2936321"/>
            <a:ext cx="5797438" cy="2626964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Folie" r:id="rId2" imgW="12700" imgH="12700" progId="TCLayout.ActiveDocument.1">
                  <p:embed/>
                </p:oleObj>
              </mc:Choice>
              <mc:Fallback>
                <p:oleObj name="think-cell Folie" r:id="rId2" imgW="12700" imgH="12700" progId="TCLayout.ActiveDocument.1">
                  <p:embed/>
                  <p:pic>
                    <p:nvPicPr>
                      <p:cNvPr id="0" name="Objekt 15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uppieren 20"/>
          <p:cNvGrpSpPr/>
          <p:nvPr/>
        </p:nvGrpSpPr>
        <p:grpSpPr>
          <a:xfrm>
            <a:off x="5980572" y="1860079"/>
            <a:ext cx="2640558" cy="360000"/>
            <a:chOff x="6114280" y="1860079"/>
            <a:chExt cx="2640558" cy="360000"/>
          </a:xfrm>
        </p:grpSpPr>
        <p:grpSp>
          <p:nvGrpSpPr>
            <p:cNvPr id="42" name="Gruppieren 41"/>
            <p:cNvGrpSpPr/>
            <p:nvPr/>
          </p:nvGrpSpPr>
          <p:grpSpPr>
            <a:xfrm>
              <a:off x="6114280" y="1860079"/>
              <a:ext cx="2640558" cy="360000"/>
              <a:chOff x="426036" y="1860079"/>
              <a:chExt cx="2640558" cy="360000"/>
            </a:xfrm>
          </p:grpSpPr>
          <p:sp>
            <p:nvSpPr>
              <p:cNvPr id="46" name="AutoShape 3"/>
              <p:cNvSpPr>
                <a:spLocks noChangeArrowheads="1"/>
              </p:cNvSpPr>
              <p:nvPr/>
            </p:nvSpPr>
            <p:spPr bwMode="auto">
              <a:xfrm>
                <a:off x="504136" y="1886363"/>
                <a:ext cx="2562458" cy="307433"/>
              </a:xfrm>
              <a:prstGeom prst="roundRect">
                <a:avLst>
                  <a:gd name="adj" fmla="val 0"/>
                </a:avLst>
              </a:prstGeom>
              <a:solidFill>
                <a:srgbClr val="FF6600"/>
              </a:solidFill>
              <a:ln w="0" algn="ctr">
                <a:noFill/>
                <a:round/>
              </a:ln>
              <a:effectLst/>
            </p:spPr>
            <p:txBody>
              <a:bodyPr lIns="360000" tIns="0" rIns="36000" bIns="0" anchor="ctr"/>
              <a:lstStyle/>
              <a:p>
                <a:pPr defTabSz="762000" eaLnBrk="0" hangingPunct="0">
                  <a:lnSpc>
                    <a:spcPct val="90000"/>
                  </a:lnSpc>
                  <a:buClr>
                    <a:srgbClr val="BFBFBF"/>
                  </a:buClr>
                </a:pPr>
                <a:r>
                  <a:rPr lang="en-US" altLang="zh-CN" b="1" dirty="0">
                    <a:solidFill>
                      <a:srgbClr val="FFFFFF"/>
                    </a:solidFill>
                    <a:latin typeface="Calibri" panose="020F0502020204030204" pitchFamily="34" charset="0"/>
                  </a:rPr>
                  <a:t>ETA</a:t>
                </a:r>
                <a:endParaRPr lang="en-US" altLang="zh-CN" b="1" dirty="0">
                  <a:solidFill>
                    <a:srgbClr val="FFFFFF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47" name="AutoShape 3"/>
              <p:cNvSpPr>
                <a:spLocks noChangeArrowheads="1"/>
              </p:cNvSpPr>
              <p:nvPr/>
            </p:nvSpPr>
            <p:spPr bwMode="auto">
              <a:xfrm>
                <a:off x="426036" y="1860079"/>
                <a:ext cx="360000" cy="360000"/>
              </a:xfrm>
              <a:prstGeom prst="ellipse">
                <a:avLst/>
              </a:prstGeom>
              <a:solidFill>
                <a:schemeClr val="bg1"/>
              </a:solidFill>
              <a:ln w="0" algn="ctr">
                <a:solidFill>
                  <a:schemeClr val="accent1"/>
                </a:solidFill>
                <a:round/>
              </a:ln>
              <a:effectLst/>
            </p:spPr>
            <p:txBody>
              <a:bodyPr wrap="none" lIns="0" tIns="36000" rIns="0" bIns="36000" anchor="ctr">
                <a:noAutofit/>
              </a:bodyPr>
              <a:lstStyle/>
              <a:p>
                <a:pPr algn="ctr" defTabSz="762000" eaLnBrk="0" hangingPunct="0">
                  <a:lnSpc>
                    <a:spcPct val="90000"/>
                  </a:lnSpc>
                  <a:buClr>
                    <a:srgbClr val="BFBFBF"/>
                  </a:buClr>
                </a:pPr>
                <a:r>
                  <a:rPr lang="en-US" altLang="zh-CN" sz="1600" b="1" dirty="0">
                    <a:solidFill>
                      <a:schemeClr val="accent1"/>
                    </a:solidFill>
                    <a:latin typeface="Calibri" panose="020F0502020204030204" pitchFamily="34" charset="0"/>
                  </a:rPr>
                  <a:t> 3.</a:t>
                </a:r>
                <a:endParaRPr lang="en-US" altLang="zh-CN" sz="1600" b="1" dirty="0">
                  <a:solidFill>
                    <a:schemeClr val="accent1"/>
                  </a:solidFill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86" name="Freeform 9"/>
            <p:cNvSpPr>
              <a:spLocks noChangeAspect="1" noEditPoints="1"/>
            </p:cNvSpPr>
            <p:nvPr/>
          </p:nvSpPr>
          <p:spPr bwMode="auto">
            <a:xfrm>
              <a:off x="8437760" y="1905079"/>
              <a:ext cx="285849" cy="270000"/>
            </a:xfrm>
            <a:custGeom>
              <a:avLst/>
              <a:gdLst>
                <a:gd name="T0" fmla="*/ 550 w 827"/>
                <a:gd name="T1" fmla="*/ 641 h 785"/>
                <a:gd name="T2" fmla="*/ 490 w 827"/>
                <a:gd name="T3" fmla="*/ 624 h 785"/>
                <a:gd name="T4" fmla="*/ 613 w 827"/>
                <a:gd name="T5" fmla="*/ 611 h 785"/>
                <a:gd name="T6" fmla="*/ 583 w 827"/>
                <a:gd name="T7" fmla="*/ 634 h 785"/>
                <a:gd name="T8" fmla="*/ 579 w 827"/>
                <a:gd name="T9" fmla="*/ 636 h 785"/>
                <a:gd name="T10" fmla="*/ 589 w 827"/>
                <a:gd name="T11" fmla="*/ 670 h 785"/>
                <a:gd name="T12" fmla="*/ 613 w 827"/>
                <a:gd name="T13" fmla="*/ 657 h 785"/>
                <a:gd name="T14" fmla="*/ 649 w 827"/>
                <a:gd name="T15" fmla="*/ 619 h 785"/>
                <a:gd name="T16" fmla="*/ 664 w 827"/>
                <a:gd name="T17" fmla="*/ 578 h 785"/>
                <a:gd name="T18" fmla="*/ 652 w 827"/>
                <a:gd name="T19" fmla="*/ 500 h 785"/>
                <a:gd name="T20" fmla="*/ 630 w 827"/>
                <a:gd name="T21" fmla="*/ 564 h 785"/>
                <a:gd name="T22" fmla="*/ 213 w 827"/>
                <a:gd name="T23" fmla="*/ 602 h 785"/>
                <a:gd name="T24" fmla="*/ 210 w 827"/>
                <a:gd name="T25" fmla="*/ 648 h 785"/>
                <a:gd name="T26" fmla="*/ 253 w 827"/>
                <a:gd name="T27" fmla="*/ 624 h 785"/>
                <a:gd name="T28" fmla="*/ 827 w 827"/>
                <a:gd name="T29" fmla="*/ 740 h 785"/>
                <a:gd name="T30" fmla="*/ 716 w 827"/>
                <a:gd name="T31" fmla="*/ 394 h 785"/>
                <a:gd name="T32" fmla="*/ 415 w 827"/>
                <a:gd name="T33" fmla="*/ 383 h 785"/>
                <a:gd name="T34" fmla="*/ 635 w 827"/>
                <a:gd name="T35" fmla="*/ 466 h 785"/>
                <a:gd name="T36" fmla="*/ 188 w 827"/>
                <a:gd name="T37" fmla="*/ 717 h 785"/>
                <a:gd name="T38" fmla="*/ 157 w 827"/>
                <a:gd name="T39" fmla="*/ 681 h 785"/>
                <a:gd name="T40" fmla="*/ 149 w 827"/>
                <a:gd name="T41" fmla="*/ 438 h 785"/>
                <a:gd name="T42" fmla="*/ 121 w 827"/>
                <a:gd name="T43" fmla="*/ 387 h 785"/>
                <a:gd name="T44" fmla="*/ 95 w 827"/>
                <a:gd name="T45" fmla="*/ 417 h 785"/>
                <a:gd name="T46" fmla="*/ 4 w 827"/>
                <a:gd name="T47" fmla="*/ 762 h 785"/>
                <a:gd name="T48" fmla="*/ 38 w 827"/>
                <a:gd name="T49" fmla="*/ 784 h 785"/>
                <a:gd name="T50" fmla="*/ 809 w 827"/>
                <a:gd name="T51" fmla="*/ 776 h 785"/>
                <a:gd name="T52" fmla="*/ 827 w 827"/>
                <a:gd name="T53" fmla="*/ 745 h 785"/>
                <a:gd name="T54" fmla="*/ 256 w 827"/>
                <a:gd name="T55" fmla="*/ 180 h 785"/>
                <a:gd name="T56" fmla="*/ 295 w 827"/>
                <a:gd name="T57" fmla="*/ 231 h 785"/>
                <a:gd name="T58" fmla="*/ 361 w 827"/>
                <a:gd name="T59" fmla="*/ 240 h 785"/>
                <a:gd name="T60" fmla="*/ 412 w 827"/>
                <a:gd name="T61" fmla="*/ 200 h 785"/>
                <a:gd name="T62" fmla="*/ 421 w 827"/>
                <a:gd name="T63" fmla="*/ 134 h 785"/>
                <a:gd name="T64" fmla="*/ 381 w 827"/>
                <a:gd name="T65" fmla="*/ 83 h 785"/>
                <a:gd name="T66" fmla="*/ 315 w 827"/>
                <a:gd name="T67" fmla="*/ 74 h 785"/>
                <a:gd name="T68" fmla="*/ 264 w 827"/>
                <a:gd name="T69" fmla="*/ 114 h 785"/>
                <a:gd name="T70" fmla="*/ 181 w 827"/>
                <a:gd name="T71" fmla="*/ 170 h 785"/>
                <a:gd name="T72" fmla="*/ 190 w 827"/>
                <a:gd name="T73" fmla="*/ 113 h 785"/>
                <a:gd name="T74" fmla="*/ 231 w 827"/>
                <a:gd name="T75" fmla="*/ 49 h 785"/>
                <a:gd name="T76" fmla="*/ 298 w 827"/>
                <a:gd name="T77" fmla="*/ 7 h 785"/>
                <a:gd name="T78" fmla="*/ 378 w 827"/>
                <a:gd name="T79" fmla="*/ 7 h 785"/>
                <a:gd name="T80" fmla="*/ 445 w 827"/>
                <a:gd name="T81" fmla="*/ 49 h 785"/>
                <a:gd name="T82" fmla="*/ 487 w 827"/>
                <a:gd name="T83" fmla="*/ 113 h 785"/>
                <a:gd name="T84" fmla="*/ 495 w 827"/>
                <a:gd name="T85" fmla="*/ 182 h 785"/>
                <a:gd name="T86" fmla="*/ 480 w 827"/>
                <a:gd name="T87" fmla="*/ 232 h 785"/>
                <a:gd name="T88" fmla="*/ 451 w 827"/>
                <a:gd name="T89" fmla="*/ 267 h 785"/>
                <a:gd name="T90" fmla="*/ 376 w 827"/>
                <a:gd name="T91" fmla="*/ 395 h 785"/>
                <a:gd name="T92" fmla="*/ 333 w 827"/>
                <a:gd name="T93" fmla="*/ 491 h 785"/>
                <a:gd name="T94" fmla="*/ 301 w 827"/>
                <a:gd name="T95" fmla="*/ 398 h 785"/>
                <a:gd name="T96" fmla="*/ 250 w 827"/>
                <a:gd name="T97" fmla="*/ 298 h 785"/>
                <a:gd name="T98" fmla="*/ 204 w 827"/>
                <a:gd name="T99" fmla="*/ 244 h 785"/>
                <a:gd name="T100" fmla="*/ 185 w 827"/>
                <a:gd name="T101" fmla="*/ 202 h 785"/>
                <a:gd name="T102" fmla="*/ 334 w 827"/>
                <a:gd name="T103" fmla="*/ 585 h 785"/>
                <a:gd name="T104" fmla="*/ 286 w 827"/>
                <a:gd name="T105" fmla="*/ 619 h 785"/>
                <a:gd name="T106" fmla="*/ 349 w 827"/>
                <a:gd name="T107" fmla="*/ 622 h 785"/>
                <a:gd name="T108" fmla="*/ 382 w 827"/>
                <a:gd name="T109" fmla="*/ 628 h 785"/>
                <a:gd name="T110" fmla="*/ 435 w 827"/>
                <a:gd name="T111" fmla="*/ 604 h 785"/>
                <a:gd name="T112" fmla="*/ 444 w 827"/>
                <a:gd name="T113" fmla="*/ 644 h 785"/>
                <a:gd name="T114" fmla="*/ 385 w 827"/>
                <a:gd name="T115" fmla="*/ 629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27" h="785">
                  <a:moveTo>
                    <a:pt x="513" y="670"/>
                  </a:moveTo>
                  <a:lnTo>
                    <a:pt x="513" y="670"/>
                  </a:lnTo>
                  <a:lnTo>
                    <a:pt x="525" y="673"/>
                  </a:lnTo>
                  <a:lnTo>
                    <a:pt x="537" y="675"/>
                  </a:lnTo>
                  <a:lnTo>
                    <a:pt x="549" y="677"/>
                  </a:lnTo>
                  <a:lnTo>
                    <a:pt x="550" y="641"/>
                  </a:lnTo>
                  <a:lnTo>
                    <a:pt x="540" y="640"/>
                  </a:lnTo>
                  <a:lnTo>
                    <a:pt x="530" y="638"/>
                  </a:lnTo>
                  <a:lnTo>
                    <a:pt x="519" y="635"/>
                  </a:lnTo>
                  <a:lnTo>
                    <a:pt x="509" y="632"/>
                  </a:lnTo>
                  <a:lnTo>
                    <a:pt x="499" y="628"/>
                  </a:lnTo>
                  <a:lnTo>
                    <a:pt x="490" y="624"/>
                  </a:lnTo>
                  <a:lnTo>
                    <a:pt x="478" y="657"/>
                  </a:lnTo>
                  <a:lnTo>
                    <a:pt x="489" y="661"/>
                  </a:lnTo>
                  <a:lnTo>
                    <a:pt x="501" y="666"/>
                  </a:lnTo>
                  <a:lnTo>
                    <a:pt x="513" y="670"/>
                  </a:lnTo>
                  <a:lnTo>
                    <a:pt x="513" y="670"/>
                  </a:lnTo>
                  <a:close/>
                  <a:moveTo>
                    <a:pt x="613" y="611"/>
                  </a:moveTo>
                  <a:lnTo>
                    <a:pt x="613" y="611"/>
                  </a:lnTo>
                  <a:lnTo>
                    <a:pt x="606" y="618"/>
                  </a:lnTo>
                  <a:lnTo>
                    <a:pt x="599" y="624"/>
                  </a:lnTo>
                  <a:lnTo>
                    <a:pt x="591" y="629"/>
                  </a:lnTo>
                  <a:lnTo>
                    <a:pt x="583" y="634"/>
                  </a:lnTo>
                  <a:lnTo>
                    <a:pt x="583" y="634"/>
                  </a:lnTo>
                  <a:lnTo>
                    <a:pt x="582" y="635"/>
                  </a:lnTo>
                  <a:lnTo>
                    <a:pt x="582" y="635"/>
                  </a:lnTo>
                  <a:lnTo>
                    <a:pt x="581" y="635"/>
                  </a:lnTo>
                  <a:lnTo>
                    <a:pt x="581" y="635"/>
                  </a:lnTo>
                  <a:lnTo>
                    <a:pt x="580" y="636"/>
                  </a:lnTo>
                  <a:lnTo>
                    <a:pt x="579" y="636"/>
                  </a:lnTo>
                  <a:lnTo>
                    <a:pt x="579" y="636"/>
                  </a:lnTo>
                  <a:lnTo>
                    <a:pt x="578" y="636"/>
                  </a:lnTo>
                  <a:lnTo>
                    <a:pt x="578" y="636"/>
                  </a:lnTo>
                  <a:lnTo>
                    <a:pt x="577" y="636"/>
                  </a:lnTo>
                  <a:lnTo>
                    <a:pt x="577" y="637"/>
                  </a:lnTo>
                  <a:lnTo>
                    <a:pt x="589" y="670"/>
                  </a:lnTo>
                  <a:lnTo>
                    <a:pt x="589" y="670"/>
                  </a:lnTo>
                  <a:lnTo>
                    <a:pt x="590" y="669"/>
                  </a:lnTo>
                  <a:lnTo>
                    <a:pt x="592" y="669"/>
                  </a:lnTo>
                  <a:lnTo>
                    <a:pt x="592" y="669"/>
                  </a:lnTo>
                  <a:lnTo>
                    <a:pt x="603" y="663"/>
                  </a:lnTo>
                  <a:lnTo>
                    <a:pt x="613" y="657"/>
                  </a:lnTo>
                  <a:lnTo>
                    <a:pt x="623" y="649"/>
                  </a:lnTo>
                  <a:lnTo>
                    <a:pt x="632" y="641"/>
                  </a:lnTo>
                  <a:lnTo>
                    <a:pt x="640" y="633"/>
                  </a:lnTo>
                  <a:lnTo>
                    <a:pt x="647" y="624"/>
                  </a:lnTo>
                  <a:lnTo>
                    <a:pt x="648" y="621"/>
                  </a:lnTo>
                  <a:lnTo>
                    <a:pt x="649" y="619"/>
                  </a:lnTo>
                  <a:lnTo>
                    <a:pt x="650" y="618"/>
                  </a:lnTo>
                  <a:lnTo>
                    <a:pt x="618" y="603"/>
                  </a:lnTo>
                  <a:lnTo>
                    <a:pt x="613" y="611"/>
                  </a:lnTo>
                  <a:lnTo>
                    <a:pt x="613" y="611"/>
                  </a:lnTo>
                  <a:close/>
                  <a:moveTo>
                    <a:pt x="664" y="578"/>
                  </a:moveTo>
                  <a:lnTo>
                    <a:pt x="664" y="578"/>
                  </a:lnTo>
                  <a:lnTo>
                    <a:pt x="665" y="565"/>
                  </a:lnTo>
                  <a:lnTo>
                    <a:pt x="665" y="552"/>
                  </a:lnTo>
                  <a:lnTo>
                    <a:pt x="663" y="538"/>
                  </a:lnTo>
                  <a:lnTo>
                    <a:pt x="660" y="525"/>
                  </a:lnTo>
                  <a:lnTo>
                    <a:pt x="656" y="513"/>
                  </a:lnTo>
                  <a:lnTo>
                    <a:pt x="652" y="500"/>
                  </a:lnTo>
                  <a:lnTo>
                    <a:pt x="620" y="514"/>
                  </a:lnTo>
                  <a:lnTo>
                    <a:pt x="623" y="523"/>
                  </a:lnTo>
                  <a:lnTo>
                    <a:pt x="626" y="533"/>
                  </a:lnTo>
                  <a:lnTo>
                    <a:pt x="629" y="543"/>
                  </a:lnTo>
                  <a:lnTo>
                    <a:pt x="630" y="553"/>
                  </a:lnTo>
                  <a:lnTo>
                    <a:pt x="630" y="564"/>
                  </a:lnTo>
                  <a:lnTo>
                    <a:pt x="630" y="574"/>
                  </a:lnTo>
                  <a:lnTo>
                    <a:pt x="664" y="578"/>
                  </a:lnTo>
                  <a:lnTo>
                    <a:pt x="664" y="578"/>
                  </a:lnTo>
                  <a:close/>
                  <a:moveTo>
                    <a:pt x="223" y="597"/>
                  </a:moveTo>
                  <a:lnTo>
                    <a:pt x="223" y="597"/>
                  </a:lnTo>
                  <a:lnTo>
                    <a:pt x="213" y="602"/>
                  </a:lnTo>
                  <a:lnTo>
                    <a:pt x="203" y="608"/>
                  </a:lnTo>
                  <a:lnTo>
                    <a:pt x="194" y="615"/>
                  </a:lnTo>
                  <a:lnTo>
                    <a:pt x="186" y="623"/>
                  </a:lnTo>
                  <a:lnTo>
                    <a:pt x="178" y="632"/>
                  </a:lnTo>
                  <a:lnTo>
                    <a:pt x="205" y="654"/>
                  </a:lnTo>
                  <a:lnTo>
                    <a:pt x="210" y="648"/>
                  </a:lnTo>
                  <a:lnTo>
                    <a:pt x="217" y="642"/>
                  </a:lnTo>
                  <a:lnTo>
                    <a:pt x="223" y="637"/>
                  </a:lnTo>
                  <a:lnTo>
                    <a:pt x="230" y="633"/>
                  </a:lnTo>
                  <a:lnTo>
                    <a:pt x="238" y="630"/>
                  </a:lnTo>
                  <a:lnTo>
                    <a:pt x="245" y="627"/>
                  </a:lnTo>
                  <a:lnTo>
                    <a:pt x="253" y="624"/>
                  </a:lnTo>
                  <a:lnTo>
                    <a:pt x="245" y="590"/>
                  </a:lnTo>
                  <a:lnTo>
                    <a:pt x="234" y="593"/>
                  </a:lnTo>
                  <a:lnTo>
                    <a:pt x="223" y="597"/>
                  </a:lnTo>
                  <a:lnTo>
                    <a:pt x="223" y="597"/>
                  </a:lnTo>
                  <a:close/>
                  <a:moveTo>
                    <a:pt x="827" y="740"/>
                  </a:moveTo>
                  <a:lnTo>
                    <a:pt x="827" y="740"/>
                  </a:lnTo>
                  <a:lnTo>
                    <a:pt x="826" y="736"/>
                  </a:lnTo>
                  <a:lnTo>
                    <a:pt x="731" y="417"/>
                  </a:lnTo>
                  <a:lnTo>
                    <a:pt x="729" y="411"/>
                  </a:lnTo>
                  <a:lnTo>
                    <a:pt x="725" y="405"/>
                  </a:lnTo>
                  <a:lnTo>
                    <a:pt x="721" y="399"/>
                  </a:lnTo>
                  <a:lnTo>
                    <a:pt x="716" y="394"/>
                  </a:lnTo>
                  <a:lnTo>
                    <a:pt x="711" y="390"/>
                  </a:lnTo>
                  <a:lnTo>
                    <a:pt x="706" y="387"/>
                  </a:lnTo>
                  <a:lnTo>
                    <a:pt x="700" y="385"/>
                  </a:lnTo>
                  <a:lnTo>
                    <a:pt x="694" y="384"/>
                  </a:lnTo>
                  <a:lnTo>
                    <a:pt x="687" y="383"/>
                  </a:lnTo>
                  <a:lnTo>
                    <a:pt x="415" y="383"/>
                  </a:lnTo>
                  <a:lnTo>
                    <a:pt x="389" y="438"/>
                  </a:lnTo>
                  <a:lnTo>
                    <a:pt x="575" y="438"/>
                  </a:lnTo>
                  <a:lnTo>
                    <a:pt x="586" y="453"/>
                  </a:lnTo>
                  <a:lnTo>
                    <a:pt x="596" y="468"/>
                  </a:lnTo>
                  <a:lnTo>
                    <a:pt x="606" y="484"/>
                  </a:lnTo>
                  <a:lnTo>
                    <a:pt x="635" y="466"/>
                  </a:lnTo>
                  <a:lnTo>
                    <a:pt x="627" y="452"/>
                  </a:lnTo>
                  <a:lnTo>
                    <a:pt x="618" y="438"/>
                  </a:lnTo>
                  <a:lnTo>
                    <a:pt x="678" y="438"/>
                  </a:lnTo>
                  <a:lnTo>
                    <a:pt x="764" y="730"/>
                  </a:lnTo>
                  <a:lnTo>
                    <a:pt x="189" y="730"/>
                  </a:lnTo>
                  <a:lnTo>
                    <a:pt x="188" y="717"/>
                  </a:lnTo>
                  <a:lnTo>
                    <a:pt x="189" y="704"/>
                  </a:lnTo>
                  <a:lnTo>
                    <a:pt x="190" y="692"/>
                  </a:lnTo>
                  <a:lnTo>
                    <a:pt x="193" y="680"/>
                  </a:lnTo>
                  <a:lnTo>
                    <a:pt x="160" y="669"/>
                  </a:lnTo>
                  <a:lnTo>
                    <a:pt x="160" y="670"/>
                  </a:lnTo>
                  <a:lnTo>
                    <a:pt x="157" y="681"/>
                  </a:lnTo>
                  <a:lnTo>
                    <a:pt x="155" y="693"/>
                  </a:lnTo>
                  <a:lnTo>
                    <a:pt x="154" y="705"/>
                  </a:lnTo>
                  <a:lnTo>
                    <a:pt x="154" y="717"/>
                  </a:lnTo>
                  <a:lnTo>
                    <a:pt x="155" y="730"/>
                  </a:lnTo>
                  <a:lnTo>
                    <a:pt x="62" y="730"/>
                  </a:lnTo>
                  <a:lnTo>
                    <a:pt x="149" y="438"/>
                  </a:lnTo>
                  <a:lnTo>
                    <a:pt x="288" y="438"/>
                  </a:lnTo>
                  <a:lnTo>
                    <a:pt x="262" y="383"/>
                  </a:lnTo>
                  <a:lnTo>
                    <a:pt x="140" y="383"/>
                  </a:lnTo>
                  <a:lnTo>
                    <a:pt x="133" y="384"/>
                  </a:lnTo>
                  <a:lnTo>
                    <a:pt x="127" y="385"/>
                  </a:lnTo>
                  <a:lnTo>
                    <a:pt x="121" y="387"/>
                  </a:lnTo>
                  <a:lnTo>
                    <a:pt x="115" y="390"/>
                  </a:lnTo>
                  <a:lnTo>
                    <a:pt x="110" y="394"/>
                  </a:lnTo>
                  <a:lnTo>
                    <a:pt x="105" y="399"/>
                  </a:lnTo>
                  <a:lnTo>
                    <a:pt x="101" y="405"/>
                  </a:lnTo>
                  <a:lnTo>
                    <a:pt x="98" y="411"/>
                  </a:lnTo>
                  <a:lnTo>
                    <a:pt x="95" y="417"/>
                  </a:lnTo>
                  <a:lnTo>
                    <a:pt x="1" y="736"/>
                  </a:lnTo>
                  <a:lnTo>
                    <a:pt x="0" y="740"/>
                  </a:lnTo>
                  <a:lnTo>
                    <a:pt x="0" y="745"/>
                  </a:lnTo>
                  <a:lnTo>
                    <a:pt x="0" y="751"/>
                  </a:lnTo>
                  <a:lnTo>
                    <a:pt x="2" y="757"/>
                  </a:lnTo>
                  <a:lnTo>
                    <a:pt x="4" y="762"/>
                  </a:lnTo>
                  <a:lnTo>
                    <a:pt x="8" y="767"/>
                  </a:lnTo>
                  <a:lnTo>
                    <a:pt x="12" y="772"/>
                  </a:lnTo>
                  <a:lnTo>
                    <a:pt x="18" y="776"/>
                  </a:lnTo>
                  <a:lnTo>
                    <a:pt x="25" y="780"/>
                  </a:lnTo>
                  <a:lnTo>
                    <a:pt x="32" y="783"/>
                  </a:lnTo>
                  <a:lnTo>
                    <a:pt x="38" y="784"/>
                  </a:lnTo>
                  <a:lnTo>
                    <a:pt x="45" y="785"/>
                  </a:lnTo>
                  <a:lnTo>
                    <a:pt x="781" y="785"/>
                  </a:lnTo>
                  <a:lnTo>
                    <a:pt x="788" y="784"/>
                  </a:lnTo>
                  <a:lnTo>
                    <a:pt x="795" y="783"/>
                  </a:lnTo>
                  <a:lnTo>
                    <a:pt x="802" y="780"/>
                  </a:lnTo>
                  <a:lnTo>
                    <a:pt x="809" y="776"/>
                  </a:lnTo>
                  <a:lnTo>
                    <a:pt x="815" y="772"/>
                  </a:lnTo>
                  <a:lnTo>
                    <a:pt x="819" y="767"/>
                  </a:lnTo>
                  <a:lnTo>
                    <a:pt x="822" y="762"/>
                  </a:lnTo>
                  <a:lnTo>
                    <a:pt x="825" y="757"/>
                  </a:lnTo>
                  <a:lnTo>
                    <a:pt x="826" y="751"/>
                  </a:lnTo>
                  <a:lnTo>
                    <a:pt x="827" y="745"/>
                  </a:lnTo>
                  <a:lnTo>
                    <a:pt x="827" y="740"/>
                  </a:lnTo>
                  <a:lnTo>
                    <a:pt x="827" y="740"/>
                  </a:lnTo>
                  <a:close/>
                  <a:moveTo>
                    <a:pt x="252" y="157"/>
                  </a:moveTo>
                  <a:lnTo>
                    <a:pt x="252" y="157"/>
                  </a:lnTo>
                  <a:lnTo>
                    <a:pt x="253" y="169"/>
                  </a:lnTo>
                  <a:lnTo>
                    <a:pt x="256" y="180"/>
                  </a:lnTo>
                  <a:lnTo>
                    <a:pt x="259" y="190"/>
                  </a:lnTo>
                  <a:lnTo>
                    <a:pt x="264" y="200"/>
                  </a:lnTo>
                  <a:lnTo>
                    <a:pt x="270" y="209"/>
                  </a:lnTo>
                  <a:lnTo>
                    <a:pt x="277" y="218"/>
                  </a:lnTo>
                  <a:lnTo>
                    <a:pt x="286" y="225"/>
                  </a:lnTo>
                  <a:lnTo>
                    <a:pt x="295" y="231"/>
                  </a:lnTo>
                  <a:lnTo>
                    <a:pt x="305" y="236"/>
                  </a:lnTo>
                  <a:lnTo>
                    <a:pt x="315" y="240"/>
                  </a:lnTo>
                  <a:lnTo>
                    <a:pt x="326" y="242"/>
                  </a:lnTo>
                  <a:lnTo>
                    <a:pt x="338" y="243"/>
                  </a:lnTo>
                  <a:lnTo>
                    <a:pt x="350" y="242"/>
                  </a:lnTo>
                  <a:lnTo>
                    <a:pt x="361" y="240"/>
                  </a:lnTo>
                  <a:lnTo>
                    <a:pt x="371" y="236"/>
                  </a:lnTo>
                  <a:lnTo>
                    <a:pt x="381" y="231"/>
                  </a:lnTo>
                  <a:lnTo>
                    <a:pt x="391" y="225"/>
                  </a:lnTo>
                  <a:lnTo>
                    <a:pt x="399" y="218"/>
                  </a:lnTo>
                  <a:lnTo>
                    <a:pt x="406" y="209"/>
                  </a:lnTo>
                  <a:lnTo>
                    <a:pt x="412" y="200"/>
                  </a:lnTo>
                  <a:lnTo>
                    <a:pt x="417" y="190"/>
                  </a:lnTo>
                  <a:lnTo>
                    <a:pt x="421" y="180"/>
                  </a:lnTo>
                  <a:lnTo>
                    <a:pt x="423" y="169"/>
                  </a:lnTo>
                  <a:lnTo>
                    <a:pt x="424" y="157"/>
                  </a:lnTo>
                  <a:lnTo>
                    <a:pt x="423" y="145"/>
                  </a:lnTo>
                  <a:lnTo>
                    <a:pt x="421" y="134"/>
                  </a:lnTo>
                  <a:lnTo>
                    <a:pt x="417" y="124"/>
                  </a:lnTo>
                  <a:lnTo>
                    <a:pt x="412" y="114"/>
                  </a:lnTo>
                  <a:lnTo>
                    <a:pt x="406" y="105"/>
                  </a:lnTo>
                  <a:lnTo>
                    <a:pt x="399" y="96"/>
                  </a:lnTo>
                  <a:lnTo>
                    <a:pt x="391" y="89"/>
                  </a:lnTo>
                  <a:lnTo>
                    <a:pt x="381" y="83"/>
                  </a:lnTo>
                  <a:lnTo>
                    <a:pt x="371" y="78"/>
                  </a:lnTo>
                  <a:lnTo>
                    <a:pt x="361" y="74"/>
                  </a:lnTo>
                  <a:lnTo>
                    <a:pt x="350" y="72"/>
                  </a:lnTo>
                  <a:lnTo>
                    <a:pt x="338" y="71"/>
                  </a:lnTo>
                  <a:lnTo>
                    <a:pt x="326" y="72"/>
                  </a:lnTo>
                  <a:lnTo>
                    <a:pt x="315" y="74"/>
                  </a:lnTo>
                  <a:lnTo>
                    <a:pt x="305" y="78"/>
                  </a:lnTo>
                  <a:lnTo>
                    <a:pt x="295" y="83"/>
                  </a:lnTo>
                  <a:lnTo>
                    <a:pt x="286" y="89"/>
                  </a:lnTo>
                  <a:lnTo>
                    <a:pt x="277" y="96"/>
                  </a:lnTo>
                  <a:lnTo>
                    <a:pt x="270" y="105"/>
                  </a:lnTo>
                  <a:lnTo>
                    <a:pt x="264" y="114"/>
                  </a:lnTo>
                  <a:lnTo>
                    <a:pt x="259" y="124"/>
                  </a:lnTo>
                  <a:lnTo>
                    <a:pt x="256" y="134"/>
                  </a:lnTo>
                  <a:lnTo>
                    <a:pt x="253" y="145"/>
                  </a:lnTo>
                  <a:lnTo>
                    <a:pt x="252" y="157"/>
                  </a:lnTo>
                  <a:lnTo>
                    <a:pt x="252" y="157"/>
                  </a:lnTo>
                  <a:close/>
                  <a:moveTo>
                    <a:pt x="181" y="170"/>
                  </a:moveTo>
                  <a:lnTo>
                    <a:pt x="181" y="170"/>
                  </a:lnTo>
                  <a:lnTo>
                    <a:pt x="180" y="157"/>
                  </a:lnTo>
                  <a:lnTo>
                    <a:pt x="181" y="147"/>
                  </a:lnTo>
                  <a:lnTo>
                    <a:pt x="183" y="136"/>
                  </a:lnTo>
                  <a:lnTo>
                    <a:pt x="185" y="125"/>
                  </a:lnTo>
                  <a:lnTo>
                    <a:pt x="190" y="113"/>
                  </a:lnTo>
                  <a:lnTo>
                    <a:pt x="194" y="102"/>
                  </a:lnTo>
                  <a:lnTo>
                    <a:pt x="200" y="91"/>
                  </a:lnTo>
                  <a:lnTo>
                    <a:pt x="207" y="80"/>
                  </a:lnTo>
                  <a:lnTo>
                    <a:pt x="214" y="69"/>
                  </a:lnTo>
                  <a:lnTo>
                    <a:pt x="222" y="59"/>
                  </a:lnTo>
                  <a:lnTo>
                    <a:pt x="231" y="49"/>
                  </a:lnTo>
                  <a:lnTo>
                    <a:pt x="241" y="40"/>
                  </a:lnTo>
                  <a:lnTo>
                    <a:pt x="251" y="31"/>
                  </a:lnTo>
                  <a:lnTo>
                    <a:pt x="262" y="23"/>
                  </a:lnTo>
                  <a:lnTo>
                    <a:pt x="274" y="16"/>
                  </a:lnTo>
                  <a:lnTo>
                    <a:pt x="286" y="11"/>
                  </a:lnTo>
                  <a:lnTo>
                    <a:pt x="298" y="7"/>
                  </a:lnTo>
                  <a:lnTo>
                    <a:pt x="311" y="3"/>
                  </a:lnTo>
                  <a:lnTo>
                    <a:pt x="325" y="1"/>
                  </a:lnTo>
                  <a:lnTo>
                    <a:pt x="338" y="0"/>
                  </a:lnTo>
                  <a:lnTo>
                    <a:pt x="352" y="1"/>
                  </a:lnTo>
                  <a:lnTo>
                    <a:pt x="365" y="3"/>
                  </a:lnTo>
                  <a:lnTo>
                    <a:pt x="378" y="7"/>
                  </a:lnTo>
                  <a:lnTo>
                    <a:pt x="390" y="11"/>
                  </a:lnTo>
                  <a:lnTo>
                    <a:pt x="402" y="16"/>
                  </a:lnTo>
                  <a:lnTo>
                    <a:pt x="414" y="23"/>
                  </a:lnTo>
                  <a:lnTo>
                    <a:pt x="425" y="31"/>
                  </a:lnTo>
                  <a:lnTo>
                    <a:pt x="435" y="40"/>
                  </a:lnTo>
                  <a:lnTo>
                    <a:pt x="445" y="49"/>
                  </a:lnTo>
                  <a:lnTo>
                    <a:pt x="454" y="59"/>
                  </a:lnTo>
                  <a:lnTo>
                    <a:pt x="462" y="69"/>
                  </a:lnTo>
                  <a:lnTo>
                    <a:pt x="470" y="80"/>
                  </a:lnTo>
                  <a:lnTo>
                    <a:pt x="476" y="91"/>
                  </a:lnTo>
                  <a:lnTo>
                    <a:pt x="482" y="102"/>
                  </a:lnTo>
                  <a:lnTo>
                    <a:pt x="487" y="113"/>
                  </a:lnTo>
                  <a:lnTo>
                    <a:pt x="491" y="125"/>
                  </a:lnTo>
                  <a:lnTo>
                    <a:pt x="493" y="136"/>
                  </a:lnTo>
                  <a:lnTo>
                    <a:pt x="495" y="147"/>
                  </a:lnTo>
                  <a:lnTo>
                    <a:pt x="496" y="157"/>
                  </a:lnTo>
                  <a:lnTo>
                    <a:pt x="495" y="170"/>
                  </a:lnTo>
                  <a:lnTo>
                    <a:pt x="495" y="182"/>
                  </a:lnTo>
                  <a:lnTo>
                    <a:pt x="493" y="192"/>
                  </a:lnTo>
                  <a:lnTo>
                    <a:pt x="492" y="202"/>
                  </a:lnTo>
                  <a:lnTo>
                    <a:pt x="489" y="210"/>
                  </a:lnTo>
                  <a:lnTo>
                    <a:pt x="487" y="218"/>
                  </a:lnTo>
                  <a:lnTo>
                    <a:pt x="484" y="225"/>
                  </a:lnTo>
                  <a:lnTo>
                    <a:pt x="480" y="232"/>
                  </a:lnTo>
                  <a:lnTo>
                    <a:pt x="477" y="238"/>
                  </a:lnTo>
                  <a:lnTo>
                    <a:pt x="472" y="244"/>
                  </a:lnTo>
                  <a:lnTo>
                    <a:pt x="467" y="249"/>
                  </a:lnTo>
                  <a:lnTo>
                    <a:pt x="462" y="255"/>
                  </a:lnTo>
                  <a:lnTo>
                    <a:pt x="457" y="261"/>
                  </a:lnTo>
                  <a:lnTo>
                    <a:pt x="451" y="267"/>
                  </a:lnTo>
                  <a:lnTo>
                    <a:pt x="435" y="288"/>
                  </a:lnTo>
                  <a:lnTo>
                    <a:pt x="421" y="309"/>
                  </a:lnTo>
                  <a:lnTo>
                    <a:pt x="408" y="331"/>
                  </a:lnTo>
                  <a:lnTo>
                    <a:pt x="396" y="352"/>
                  </a:lnTo>
                  <a:lnTo>
                    <a:pt x="386" y="373"/>
                  </a:lnTo>
                  <a:lnTo>
                    <a:pt x="376" y="395"/>
                  </a:lnTo>
                  <a:lnTo>
                    <a:pt x="368" y="417"/>
                  </a:lnTo>
                  <a:lnTo>
                    <a:pt x="360" y="439"/>
                  </a:lnTo>
                  <a:lnTo>
                    <a:pt x="352" y="460"/>
                  </a:lnTo>
                  <a:lnTo>
                    <a:pt x="345" y="482"/>
                  </a:lnTo>
                  <a:lnTo>
                    <a:pt x="338" y="504"/>
                  </a:lnTo>
                  <a:lnTo>
                    <a:pt x="333" y="491"/>
                  </a:lnTo>
                  <a:lnTo>
                    <a:pt x="328" y="477"/>
                  </a:lnTo>
                  <a:lnTo>
                    <a:pt x="323" y="462"/>
                  </a:lnTo>
                  <a:lnTo>
                    <a:pt x="318" y="447"/>
                  </a:lnTo>
                  <a:lnTo>
                    <a:pt x="312" y="431"/>
                  </a:lnTo>
                  <a:lnTo>
                    <a:pt x="307" y="415"/>
                  </a:lnTo>
                  <a:lnTo>
                    <a:pt x="301" y="398"/>
                  </a:lnTo>
                  <a:lnTo>
                    <a:pt x="294" y="382"/>
                  </a:lnTo>
                  <a:lnTo>
                    <a:pt x="287" y="365"/>
                  </a:lnTo>
                  <a:lnTo>
                    <a:pt x="279" y="348"/>
                  </a:lnTo>
                  <a:lnTo>
                    <a:pt x="270" y="331"/>
                  </a:lnTo>
                  <a:lnTo>
                    <a:pt x="261" y="314"/>
                  </a:lnTo>
                  <a:lnTo>
                    <a:pt x="250" y="298"/>
                  </a:lnTo>
                  <a:lnTo>
                    <a:pt x="238" y="282"/>
                  </a:lnTo>
                  <a:lnTo>
                    <a:pt x="225" y="267"/>
                  </a:lnTo>
                  <a:lnTo>
                    <a:pt x="219" y="261"/>
                  </a:lnTo>
                  <a:lnTo>
                    <a:pt x="214" y="255"/>
                  </a:lnTo>
                  <a:lnTo>
                    <a:pt x="209" y="249"/>
                  </a:lnTo>
                  <a:lnTo>
                    <a:pt x="204" y="244"/>
                  </a:lnTo>
                  <a:lnTo>
                    <a:pt x="200" y="238"/>
                  </a:lnTo>
                  <a:lnTo>
                    <a:pt x="196" y="232"/>
                  </a:lnTo>
                  <a:lnTo>
                    <a:pt x="192" y="225"/>
                  </a:lnTo>
                  <a:lnTo>
                    <a:pt x="189" y="218"/>
                  </a:lnTo>
                  <a:lnTo>
                    <a:pt x="187" y="210"/>
                  </a:lnTo>
                  <a:lnTo>
                    <a:pt x="185" y="202"/>
                  </a:lnTo>
                  <a:lnTo>
                    <a:pt x="183" y="192"/>
                  </a:lnTo>
                  <a:lnTo>
                    <a:pt x="182" y="182"/>
                  </a:lnTo>
                  <a:lnTo>
                    <a:pt x="181" y="170"/>
                  </a:lnTo>
                  <a:lnTo>
                    <a:pt x="181" y="170"/>
                  </a:lnTo>
                  <a:close/>
                  <a:moveTo>
                    <a:pt x="334" y="585"/>
                  </a:moveTo>
                  <a:lnTo>
                    <a:pt x="334" y="585"/>
                  </a:lnTo>
                  <a:lnTo>
                    <a:pt x="318" y="584"/>
                  </a:lnTo>
                  <a:lnTo>
                    <a:pt x="302" y="583"/>
                  </a:lnTo>
                  <a:lnTo>
                    <a:pt x="286" y="584"/>
                  </a:lnTo>
                  <a:lnTo>
                    <a:pt x="282" y="584"/>
                  </a:lnTo>
                  <a:lnTo>
                    <a:pt x="284" y="619"/>
                  </a:lnTo>
                  <a:lnTo>
                    <a:pt x="286" y="619"/>
                  </a:lnTo>
                  <a:lnTo>
                    <a:pt x="301" y="619"/>
                  </a:lnTo>
                  <a:lnTo>
                    <a:pt x="316" y="619"/>
                  </a:lnTo>
                  <a:lnTo>
                    <a:pt x="331" y="620"/>
                  </a:lnTo>
                  <a:lnTo>
                    <a:pt x="346" y="622"/>
                  </a:lnTo>
                  <a:lnTo>
                    <a:pt x="349" y="622"/>
                  </a:lnTo>
                  <a:lnTo>
                    <a:pt x="349" y="622"/>
                  </a:lnTo>
                  <a:lnTo>
                    <a:pt x="354" y="587"/>
                  </a:lnTo>
                  <a:lnTo>
                    <a:pt x="353" y="587"/>
                  </a:lnTo>
                  <a:lnTo>
                    <a:pt x="350" y="587"/>
                  </a:lnTo>
                  <a:lnTo>
                    <a:pt x="334" y="585"/>
                  </a:lnTo>
                  <a:lnTo>
                    <a:pt x="334" y="585"/>
                  </a:lnTo>
                  <a:close/>
                  <a:moveTo>
                    <a:pt x="382" y="628"/>
                  </a:moveTo>
                  <a:lnTo>
                    <a:pt x="382" y="628"/>
                  </a:lnTo>
                  <a:lnTo>
                    <a:pt x="389" y="593"/>
                  </a:lnTo>
                  <a:lnTo>
                    <a:pt x="389" y="593"/>
                  </a:lnTo>
                  <a:lnTo>
                    <a:pt x="392" y="594"/>
                  </a:lnTo>
                  <a:lnTo>
                    <a:pt x="414" y="599"/>
                  </a:lnTo>
                  <a:lnTo>
                    <a:pt x="435" y="604"/>
                  </a:lnTo>
                  <a:lnTo>
                    <a:pt x="456" y="611"/>
                  </a:lnTo>
                  <a:lnTo>
                    <a:pt x="457" y="611"/>
                  </a:lnTo>
                  <a:lnTo>
                    <a:pt x="457" y="612"/>
                  </a:lnTo>
                  <a:lnTo>
                    <a:pt x="446" y="645"/>
                  </a:lnTo>
                  <a:lnTo>
                    <a:pt x="445" y="645"/>
                  </a:lnTo>
                  <a:lnTo>
                    <a:pt x="444" y="644"/>
                  </a:lnTo>
                  <a:lnTo>
                    <a:pt x="443" y="644"/>
                  </a:lnTo>
                  <a:lnTo>
                    <a:pt x="442" y="644"/>
                  </a:lnTo>
                  <a:lnTo>
                    <a:pt x="441" y="643"/>
                  </a:lnTo>
                  <a:lnTo>
                    <a:pt x="423" y="638"/>
                  </a:lnTo>
                  <a:lnTo>
                    <a:pt x="405" y="633"/>
                  </a:lnTo>
                  <a:lnTo>
                    <a:pt x="385" y="629"/>
                  </a:lnTo>
                  <a:lnTo>
                    <a:pt x="383" y="628"/>
                  </a:lnTo>
                  <a:lnTo>
                    <a:pt x="382" y="628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15937" y="908720"/>
            <a:ext cx="11196687" cy="677491"/>
          </a:xfrm>
        </p:spPr>
        <p:txBody>
          <a:bodyPr/>
          <a:lstStyle/>
          <a:p>
            <a:r>
              <a:rPr lang="ru-RU" dirty="0" err="1"/>
              <a:t>Даунлайты</a:t>
            </a:r>
            <a:r>
              <a:rPr lang="ru-RU" dirty="0"/>
              <a:t> </a:t>
            </a:r>
            <a:r>
              <a:rPr lang="en-US" dirty="0"/>
              <a:t>IP44 </a:t>
            </a:r>
            <a:r>
              <a:rPr lang="ru-RU" dirty="0"/>
              <a:t>(полностью) – обновление классики</a:t>
            </a:r>
            <a:r>
              <a:rPr lang="en-US" dirty="0"/>
              <a:t> ECO CLASS</a:t>
            </a:r>
            <a:r>
              <a:rPr lang="ru-RU" dirty="0"/>
              <a:t> </a:t>
            </a:r>
            <a:endParaRPr lang="en-US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503114" y="1860079"/>
            <a:ext cx="2640558" cy="2759145"/>
            <a:chOff x="503114" y="1860079"/>
            <a:chExt cx="2640558" cy="2759145"/>
          </a:xfrm>
        </p:grpSpPr>
        <p:sp>
          <p:nvSpPr>
            <p:cNvPr id="3" name="Textfeld 2"/>
            <p:cNvSpPr txBox="1"/>
            <p:nvPr/>
          </p:nvSpPr>
          <p:spPr>
            <a:xfrm>
              <a:off x="503114" y="2295511"/>
              <a:ext cx="2640558" cy="2323713"/>
            </a:xfrm>
            <a:prstGeom prst="rect">
              <a:avLst/>
            </a:prstGeom>
            <a:noFill/>
          </p:spPr>
          <p:txBody>
            <a:bodyPr wrap="square" rIns="0" rtlCol="0">
              <a:spAutoFit/>
            </a:bodyPr>
            <a:lstStyle/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1200" u="sng" dirty="0"/>
                <a:t>Обновление существующей линейки до полной защиты </a:t>
              </a:r>
              <a:r>
                <a:rPr lang="en-US" sz="1200" u="sng" dirty="0"/>
                <a:t>IP44 </a:t>
              </a:r>
              <a:r>
                <a:rPr lang="ru-RU" sz="1200" u="sng" dirty="0"/>
                <a:t>по обеим сторонам</a:t>
              </a:r>
              <a:r>
                <a:rPr lang="ru-RU" sz="1200" dirty="0"/>
                <a:t>.</a:t>
              </a:r>
              <a:endParaRPr lang="ru-RU" sz="1200" dirty="0"/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1200" dirty="0"/>
                <a:t>Высокая эффективность 95</a:t>
              </a:r>
              <a:r>
                <a:rPr lang="en-US" sz="1200" dirty="0"/>
                <a:t> </a:t>
              </a:r>
              <a:r>
                <a:rPr lang="en-US" sz="1200" dirty="0" err="1"/>
                <a:t>lm</a:t>
              </a:r>
              <a:r>
                <a:rPr lang="en-US" sz="1200" dirty="0"/>
                <a:t>/W –</a:t>
              </a:r>
              <a:r>
                <a:rPr lang="ru-RU" sz="1200" dirty="0"/>
                <a:t> Самые яркие на рынке</a:t>
              </a:r>
              <a:endParaRPr lang="ru-RU" sz="1200" dirty="0"/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1200" dirty="0"/>
                <a:t>Все популярные мощности – 8,12,13,15,18 и 24 Вт.</a:t>
              </a:r>
              <a:endParaRPr lang="en-US" sz="1200" dirty="0"/>
            </a:p>
            <a:p>
              <a:pPr>
                <a:spcAft>
                  <a:spcPts val="600"/>
                </a:spcAft>
              </a:pPr>
              <a:endParaRPr lang="en-US" sz="1200" dirty="0"/>
            </a:p>
            <a:p>
              <a:pPr>
                <a:spcAft>
                  <a:spcPts val="600"/>
                </a:spcAft>
              </a:pPr>
              <a:endParaRPr lang="en-US" sz="1200" dirty="0"/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US" sz="1200" dirty="0"/>
            </a:p>
          </p:txBody>
        </p:sp>
        <p:grpSp>
          <p:nvGrpSpPr>
            <p:cNvPr id="12" name="Gruppieren 11"/>
            <p:cNvGrpSpPr/>
            <p:nvPr/>
          </p:nvGrpSpPr>
          <p:grpSpPr>
            <a:xfrm>
              <a:off x="503114" y="1860079"/>
              <a:ext cx="2640558" cy="360000"/>
              <a:chOff x="503114" y="1860079"/>
              <a:chExt cx="2640558" cy="360000"/>
            </a:xfrm>
          </p:grpSpPr>
          <p:grpSp>
            <p:nvGrpSpPr>
              <p:cNvPr id="7" name="Gruppieren 6"/>
              <p:cNvGrpSpPr/>
              <p:nvPr/>
            </p:nvGrpSpPr>
            <p:grpSpPr>
              <a:xfrm>
                <a:off x="503114" y="1860079"/>
                <a:ext cx="2640558" cy="360000"/>
                <a:chOff x="426036" y="1860079"/>
                <a:chExt cx="2640558" cy="360000"/>
              </a:xfrm>
            </p:grpSpPr>
            <p:sp>
              <p:nvSpPr>
                <p:cNvPr id="8" name="AutoShape 3"/>
                <p:cNvSpPr>
                  <a:spLocks noChangeArrowheads="1"/>
                </p:cNvSpPr>
                <p:nvPr/>
              </p:nvSpPr>
              <p:spPr bwMode="auto">
                <a:xfrm>
                  <a:off x="504136" y="1886363"/>
                  <a:ext cx="2562458" cy="307433"/>
                </a:xfrm>
                <a:prstGeom prst="roundRect">
                  <a:avLst>
                    <a:gd name="adj" fmla="val 0"/>
                  </a:avLst>
                </a:prstGeom>
                <a:solidFill>
                  <a:srgbClr val="FF6600"/>
                </a:solidFill>
                <a:ln w="0" algn="ctr">
                  <a:noFill/>
                  <a:round/>
                </a:ln>
                <a:effectLst/>
              </p:spPr>
              <p:txBody>
                <a:bodyPr lIns="360000" tIns="0" rIns="36000" bIns="0" anchor="ctr"/>
                <a:lstStyle/>
                <a:p>
                  <a:pPr defTabSz="762000" eaLnBrk="0" hangingPunct="0">
                    <a:lnSpc>
                      <a:spcPct val="90000"/>
                    </a:lnSpc>
                    <a:buClr>
                      <a:srgbClr val="BFBFBF"/>
                    </a:buClr>
                  </a:pPr>
                  <a:r>
                    <a:rPr lang="ru-RU" altLang="zh-CN" b="1" dirty="0">
                      <a:solidFill>
                        <a:srgbClr val="FFFFFF"/>
                      </a:solidFill>
                      <a:latin typeface="Calibri" panose="020F0502020204030204" pitchFamily="34" charset="0"/>
                    </a:rPr>
                    <a:t>Обзор продукта</a:t>
                  </a:r>
                  <a:endParaRPr lang="en-US" altLang="zh-CN" b="1" dirty="0">
                    <a:solidFill>
                      <a:srgbClr val="FFFFFF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8" name="AutoShape 3"/>
                <p:cNvSpPr>
                  <a:spLocks noChangeArrowheads="1"/>
                </p:cNvSpPr>
                <p:nvPr/>
              </p:nvSpPr>
              <p:spPr bwMode="auto">
                <a:xfrm>
                  <a:off x="426036" y="1860079"/>
                  <a:ext cx="360000" cy="360000"/>
                </a:xfrm>
                <a:prstGeom prst="ellipse">
                  <a:avLst/>
                </a:prstGeom>
                <a:solidFill>
                  <a:schemeClr val="bg1"/>
                </a:solidFill>
                <a:ln w="0" algn="ctr">
                  <a:solidFill>
                    <a:schemeClr val="accent1"/>
                  </a:solidFill>
                  <a:round/>
                </a:ln>
                <a:effectLst/>
              </p:spPr>
              <p:txBody>
                <a:bodyPr wrap="none" lIns="0" tIns="36000" rIns="0" bIns="36000" anchor="ctr">
                  <a:noAutofit/>
                </a:bodyPr>
                <a:lstStyle/>
                <a:p>
                  <a:pPr algn="ctr" defTabSz="762000" eaLnBrk="0" hangingPunct="0">
                    <a:lnSpc>
                      <a:spcPct val="90000"/>
                    </a:lnSpc>
                    <a:buClr>
                      <a:srgbClr val="BFBFBF"/>
                    </a:buClr>
                  </a:pPr>
                  <a:r>
                    <a:rPr lang="en-US" altLang="zh-CN" sz="1600" b="1" dirty="0">
                      <a:solidFill>
                        <a:schemeClr val="accent1"/>
                      </a:solidFill>
                      <a:latin typeface="Calibri" panose="020F0502020204030204" pitchFamily="34" charset="0"/>
                    </a:rPr>
                    <a:t> 1.</a:t>
                  </a:r>
                  <a:endParaRPr lang="en-US" altLang="zh-CN" sz="1600" b="1" dirty="0">
                    <a:solidFill>
                      <a:schemeClr val="accent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sp>
            <p:nvSpPr>
              <p:cNvPr id="43" name="Freeform 278"/>
              <p:cNvSpPr>
                <a:spLocks noChangeAspect="1" noEditPoints="1"/>
              </p:cNvSpPr>
              <p:nvPr/>
            </p:nvSpPr>
            <p:spPr bwMode="auto">
              <a:xfrm>
                <a:off x="2893113" y="1905079"/>
                <a:ext cx="233307" cy="270000"/>
              </a:xfrm>
              <a:custGeom>
                <a:avLst/>
                <a:gdLst>
                  <a:gd name="T0" fmla="*/ 2997 w 5074"/>
                  <a:gd name="T1" fmla="*/ 4626 h 5872"/>
                  <a:gd name="T2" fmla="*/ 3300 w 5074"/>
                  <a:gd name="T3" fmla="*/ 3685 h 5872"/>
                  <a:gd name="T4" fmla="*/ 3300 w 5074"/>
                  <a:gd name="T5" fmla="*/ 3685 h 5872"/>
                  <a:gd name="T6" fmla="*/ 3002 w 5074"/>
                  <a:gd name="T7" fmla="*/ 3673 h 5872"/>
                  <a:gd name="T8" fmla="*/ 915 w 5074"/>
                  <a:gd name="T9" fmla="*/ 2422 h 5872"/>
                  <a:gd name="T10" fmla="*/ 915 w 5074"/>
                  <a:gd name="T11" fmla="*/ 2719 h 5872"/>
                  <a:gd name="T12" fmla="*/ 4766 w 5074"/>
                  <a:gd name="T13" fmla="*/ 2803 h 5872"/>
                  <a:gd name="T14" fmla="*/ 4085 w 5074"/>
                  <a:gd name="T15" fmla="*/ 2384 h 5872"/>
                  <a:gd name="T16" fmla="*/ 3638 w 5074"/>
                  <a:gd name="T17" fmla="*/ 2874 h 5872"/>
                  <a:gd name="T18" fmla="*/ 4677 w 5074"/>
                  <a:gd name="T19" fmla="*/ 1810 h 5872"/>
                  <a:gd name="T20" fmla="*/ 4834 w 5074"/>
                  <a:gd name="T21" fmla="*/ 1861 h 5872"/>
                  <a:gd name="T22" fmla="*/ 4992 w 5074"/>
                  <a:gd name="T23" fmla="*/ 1979 h 5872"/>
                  <a:gd name="T24" fmla="*/ 5065 w 5074"/>
                  <a:gd name="T25" fmla="*/ 2123 h 5872"/>
                  <a:gd name="T26" fmla="*/ 5065 w 5074"/>
                  <a:gd name="T27" fmla="*/ 2283 h 5872"/>
                  <a:gd name="T28" fmla="*/ 4852 w 5074"/>
                  <a:gd name="T29" fmla="*/ 2666 h 5872"/>
                  <a:gd name="T30" fmla="*/ 4337 w 5074"/>
                  <a:gd name="T31" fmla="*/ 2349 h 5872"/>
                  <a:gd name="T32" fmla="*/ 4355 w 5074"/>
                  <a:gd name="T33" fmla="*/ 1975 h 5872"/>
                  <a:gd name="T34" fmla="*/ 4471 w 5074"/>
                  <a:gd name="T35" fmla="*/ 1859 h 5872"/>
                  <a:gd name="T36" fmla="*/ 4624 w 5074"/>
                  <a:gd name="T37" fmla="*/ 1810 h 5872"/>
                  <a:gd name="T38" fmla="*/ 3011 w 5074"/>
                  <a:gd name="T39" fmla="*/ 1093 h 5872"/>
                  <a:gd name="T40" fmla="*/ 3054 w 5074"/>
                  <a:gd name="T41" fmla="*/ 1288 h 5872"/>
                  <a:gd name="T42" fmla="*/ 3172 w 5074"/>
                  <a:gd name="T43" fmla="*/ 1443 h 5872"/>
                  <a:gd name="T44" fmla="*/ 3342 w 5074"/>
                  <a:gd name="T45" fmla="*/ 1537 h 5872"/>
                  <a:gd name="T46" fmla="*/ 3860 w 5074"/>
                  <a:gd name="T47" fmla="*/ 1557 h 5872"/>
                  <a:gd name="T48" fmla="*/ 881 w 5074"/>
                  <a:gd name="T49" fmla="*/ 0 h 5872"/>
                  <a:gd name="T50" fmla="*/ 4476 w 5074"/>
                  <a:gd name="T51" fmla="*/ 1673 h 5872"/>
                  <a:gd name="T52" fmla="*/ 4300 w 5074"/>
                  <a:gd name="T53" fmla="*/ 1779 h 5872"/>
                  <a:gd name="T54" fmla="*/ 4154 w 5074"/>
                  <a:gd name="T55" fmla="*/ 1982 h 5872"/>
                  <a:gd name="T56" fmla="*/ 3382 w 5074"/>
                  <a:gd name="T57" fmla="*/ 1968 h 5872"/>
                  <a:gd name="T58" fmla="*/ 3113 w 5074"/>
                  <a:gd name="T59" fmla="*/ 1893 h 5872"/>
                  <a:gd name="T60" fmla="*/ 2887 w 5074"/>
                  <a:gd name="T61" fmla="*/ 1746 h 5872"/>
                  <a:gd name="T62" fmla="*/ 2716 w 5074"/>
                  <a:gd name="T63" fmla="*/ 1536 h 5872"/>
                  <a:gd name="T64" fmla="*/ 2616 w 5074"/>
                  <a:gd name="T65" fmla="*/ 1281 h 5872"/>
                  <a:gd name="T66" fmla="*/ 2597 w 5074"/>
                  <a:gd name="T67" fmla="*/ 416 h 5872"/>
                  <a:gd name="T68" fmla="*/ 748 w 5074"/>
                  <a:gd name="T69" fmla="*/ 436 h 5872"/>
                  <a:gd name="T70" fmla="*/ 577 w 5074"/>
                  <a:gd name="T71" fmla="*/ 530 h 5872"/>
                  <a:gd name="T72" fmla="*/ 459 w 5074"/>
                  <a:gd name="T73" fmla="*/ 685 h 5872"/>
                  <a:gd name="T74" fmla="*/ 417 w 5074"/>
                  <a:gd name="T75" fmla="*/ 881 h 5872"/>
                  <a:gd name="T76" fmla="*/ 436 w 5074"/>
                  <a:gd name="T77" fmla="*/ 5125 h 5872"/>
                  <a:gd name="T78" fmla="*/ 531 w 5074"/>
                  <a:gd name="T79" fmla="*/ 5297 h 5872"/>
                  <a:gd name="T80" fmla="*/ 685 w 5074"/>
                  <a:gd name="T81" fmla="*/ 5413 h 5872"/>
                  <a:gd name="T82" fmla="*/ 881 w 5074"/>
                  <a:gd name="T83" fmla="*/ 5457 h 5872"/>
                  <a:gd name="T84" fmla="*/ 3821 w 5074"/>
                  <a:gd name="T85" fmla="*/ 5438 h 5872"/>
                  <a:gd name="T86" fmla="*/ 3992 w 5074"/>
                  <a:gd name="T87" fmla="*/ 5342 h 5872"/>
                  <a:gd name="T88" fmla="*/ 4109 w 5074"/>
                  <a:gd name="T89" fmla="*/ 5187 h 5872"/>
                  <a:gd name="T90" fmla="*/ 4154 w 5074"/>
                  <a:gd name="T91" fmla="*/ 4991 h 5872"/>
                  <a:gd name="T92" fmla="*/ 4569 w 5074"/>
                  <a:gd name="T93" fmla="*/ 3468 h 5872"/>
                  <a:gd name="T94" fmla="*/ 4547 w 5074"/>
                  <a:gd name="T95" fmla="*/ 5180 h 5872"/>
                  <a:gd name="T96" fmla="*/ 4448 w 5074"/>
                  <a:gd name="T97" fmla="*/ 5436 h 5872"/>
                  <a:gd name="T98" fmla="*/ 4277 w 5074"/>
                  <a:gd name="T99" fmla="*/ 5644 h 5872"/>
                  <a:gd name="T100" fmla="*/ 4051 w 5074"/>
                  <a:gd name="T101" fmla="*/ 5794 h 5872"/>
                  <a:gd name="T102" fmla="*/ 3784 w 5074"/>
                  <a:gd name="T103" fmla="*/ 5867 h 5872"/>
                  <a:gd name="T104" fmla="*/ 785 w 5074"/>
                  <a:gd name="T105" fmla="*/ 5867 h 5872"/>
                  <a:gd name="T106" fmla="*/ 518 w 5074"/>
                  <a:gd name="T107" fmla="*/ 5794 h 5872"/>
                  <a:gd name="T108" fmla="*/ 292 w 5074"/>
                  <a:gd name="T109" fmla="*/ 5644 h 5872"/>
                  <a:gd name="T110" fmla="*/ 121 w 5074"/>
                  <a:gd name="T111" fmla="*/ 5436 h 5872"/>
                  <a:gd name="T112" fmla="*/ 22 w 5074"/>
                  <a:gd name="T113" fmla="*/ 5180 h 5872"/>
                  <a:gd name="T114" fmla="*/ 0 w 5074"/>
                  <a:gd name="T115" fmla="*/ 881 h 5872"/>
                  <a:gd name="T116" fmla="*/ 46 w 5074"/>
                  <a:gd name="T117" fmla="*/ 603 h 5872"/>
                  <a:gd name="T118" fmla="*/ 171 w 5074"/>
                  <a:gd name="T119" fmla="*/ 361 h 5872"/>
                  <a:gd name="T120" fmla="*/ 361 w 5074"/>
                  <a:gd name="T121" fmla="*/ 171 h 5872"/>
                  <a:gd name="T122" fmla="*/ 604 w 5074"/>
                  <a:gd name="T123" fmla="*/ 46 h 5872"/>
                  <a:gd name="T124" fmla="*/ 881 w 5074"/>
                  <a:gd name="T125" fmla="*/ 0 h 5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074" h="5872">
                    <a:moveTo>
                      <a:pt x="2088" y="4329"/>
                    </a:moveTo>
                    <a:lnTo>
                      <a:pt x="2999" y="4329"/>
                    </a:lnTo>
                    <a:lnTo>
                      <a:pt x="2997" y="4626"/>
                    </a:lnTo>
                    <a:lnTo>
                      <a:pt x="2088" y="4626"/>
                    </a:lnTo>
                    <a:lnTo>
                      <a:pt x="2088" y="4329"/>
                    </a:lnTo>
                    <a:close/>
                    <a:moveTo>
                      <a:pt x="3300" y="3685"/>
                    </a:moveTo>
                    <a:lnTo>
                      <a:pt x="3980" y="4103"/>
                    </a:lnTo>
                    <a:lnTo>
                      <a:pt x="3200" y="4596"/>
                    </a:lnTo>
                    <a:lnTo>
                      <a:pt x="3300" y="3685"/>
                    </a:lnTo>
                    <a:close/>
                    <a:moveTo>
                      <a:pt x="915" y="3376"/>
                    </a:moveTo>
                    <a:lnTo>
                      <a:pt x="3004" y="3376"/>
                    </a:lnTo>
                    <a:lnTo>
                      <a:pt x="3002" y="3673"/>
                    </a:lnTo>
                    <a:lnTo>
                      <a:pt x="915" y="3673"/>
                    </a:lnTo>
                    <a:lnTo>
                      <a:pt x="915" y="3376"/>
                    </a:lnTo>
                    <a:close/>
                    <a:moveTo>
                      <a:pt x="915" y="2422"/>
                    </a:moveTo>
                    <a:lnTo>
                      <a:pt x="3259" y="2422"/>
                    </a:lnTo>
                    <a:lnTo>
                      <a:pt x="3259" y="2719"/>
                    </a:lnTo>
                    <a:lnTo>
                      <a:pt x="915" y="2719"/>
                    </a:lnTo>
                    <a:lnTo>
                      <a:pt x="915" y="2422"/>
                    </a:lnTo>
                    <a:close/>
                    <a:moveTo>
                      <a:pt x="4085" y="2384"/>
                    </a:moveTo>
                    <a:lnTo>
                      <a:pt x="4766" y="2803"/>
                    </a:lnTo>
                    <a:lnTo>
                      <a:pt x="4076" y="3961"/>
                    </a:lnTo>
                    <a:lnTo>
                      <a:pt x="3394" y="3539"/>
                    </a:lnTo>
                    <a:lnTo>
                      <a:pt x="4085" y="2384"/>
                    </a:lnTo>
                    <a:close/>
                    <a:moveTo>
                      <a:pt x="3819" y="2221"/>
                    </a:moveTo>
                    <a:lnTo>
                      <a:pt x="3971" y="2315"/>
                    </a:lnTo>
                    <a:lnTo>
                      <a:pt x="3638" y="2874"/>
                    </a:lnTo>
                    <a:lnTo>
                      <a:pt x="3488" y="2778"/>
                    </a:lnTo>
                    <a:lnTo>
                      <a:pt x="3819" y="2221"/>
                    </a:lnTo>
                    <a:close/>
                    <a:moveTo>
                      <a:pt x="4677" y="1810"/>
                    </a:moveTo>
                    <a:lnTo>
                      <a:pt x="4731" y="1819"/>
                    </a:lnTo>
                    <a:lnTo>
                      <a:pt x="4784" y="1835"/>
                    </a:lnTo>
                    <a:lnTo>
                      <a:pt x="4834" y="1861"/>
                    </a:lnTo>
                    <a:lnTo>
                      <a:pt x="4908" y="1908"/>
                    </a:lnTo>
                    <a:lnTo>
                      <a:pt x="4955" y="1940"/>
                    </a:lnTo>
                    <a:lnTo>
                      <a:pt x="4992" y="1979"/>
                    </a:lnTo>
                    <a:lnTo>
                      <a:pt x="5024" y="2023"/>
                    </a:lnTo>
                    <a:lnTo>
                      <a:pt x="5049" y="2071"/>
                    </a:lnTo>
                    <a:lnTo>
                      <a:pt x="5065" y="2123"/>
                    </a:lnTo>
                    <a:lnTo>
                      <a:pt x="5074" y="2176"/>
                    </a:lnTo>
                    <a:lnTo>
                      <a:pt x="5074" y="2230"/>
                    </a:lnTo>
                    <a:lnTo>
                      <a:pt x="5065" y="2283"/>
                    </a:lnTo>
                    <a:lnTo>
                      <a:pt x="5049" y="2336"/>
                    </a:lnTo>
                    <a:lnTo>
                      <a:pt x="5022" y="2386"/>
                    </a:lnTo>
                    <a:lnTo>
                      <a:pt x="4852" y="2666"/>
                    </a:lnTo>
                    <a:lnTo>
                      <a:pt x="4485" y="2440"/>
                    </a:lnTo>
                    <a:lnTo>
                      <a:pt x="4453" y="2420"/>
                    </a:lnTo>
                    <a:lnTo>
                      <a:pt x="4337" y="2349"/>
                    </a:lnTo>
                    <a:lnTo>
                      <a:pt x="4307" y="2329"/>
                    </a:lnTo>
                    <a:lnTo>
                      <a:pt x="4182" y="2254"/>
                    </a:lnTo>
                    <a:lnTo>
                      <a:pt x="4355" y="1975"/>
                    </a:lnTo>
                    <a:lnTo>
                      <a:pt x="4387" y="1931"/>
                    </a:lnTo>
                    <a:lnTo>
                      <a:pt x="4428" y="1891"/>
                    </a:lnTo>
                    <a:lnTo>
                      <a:pt x="4471" y="1859"/>
                    </a:lnTo>
                    <a:lnTo>
                      <a:pt x="4519" y="1835"/>
                    </a:lnTo>
                    <a:lnTo>
                      <a:pt x="4570" y="1819"/>
                    </a:lnTo>
                    <a:lnTo>
                      <a:pt x="4624" y="1810"/>
                    </a:lnTo>
                    <a:lnTo>
                      <a:pt x="4677" y="1810"/>
                    </a:lnTo>
                    <a:close/>
                    <a:moveTo>
                      <a:pt x="3011" y="710"/>
                    </a:moveTo>
                    <a:lnTo>
                      <a:pt x="3011" y="1093"/>
                    </a:lnTo>
                    <a:lnTo>
                      <a:pt x="3017" y="1160"/>
                    </a:lnTo>
                    <a:lnTo>
                      <a:pt x="3031" y="1226"/>
                    </a:lnTo>
                    <a:lnTo>
                      <a:pt x="3054" y="1288"/>
                    </a:lnTo>
                    <a:lnTo>
                      <a:pt x="3086" y="1345"/>
                    </a:lnTo>
                    <a:lnTo>
                      <a:pt x="3125" y="1397"/>
                    </a:lnTo>
                    <a:lnTo>
                      <a:pt x="3172" y="1443"/>
                    </a:lnTo>
                    <a:lnTo>
                      <a:pt x="3223" y="1482"/>
                    </a:lnTo>
                    <a:lnTo>
                      <a:pt x="3280" y="1514"/>
                    </a:lnTo>
                    <a:lnTo>
                      <a:pt x="3342" y="1537"/>
                    </a:lnTo>
                    <a:lnTo>
                      <a:pt x="3408" y="1552"/>
                    </a:lnTo>
                    <a:lnTo>
                      <a:pt x="3478" y="1557"/>
                    </a:lnTo>
                    <a:lnTo>
                      <a:pt x="3860" y="1557"/>
                    </a:lnTo>
                    <a:lnTo>
                      <a:pt x="3435" y="1133"/>
                    </a:lnTo>
                    <a:lnTo>
                      <a:pt x="3011" y="710"/>
                    </a:lnTo>
                    <a:close/>
                    <a:moveTo>
                      <a:pt x="881" y="0"/>
                    </a:moveTo>
                    <a:lnTo>
                      <a:pt x="2889" y="0"/>
                    </a:lnTo>
                    <a:lnTo>
                      <a:pt x="4542" y="1653"/>
                    </a:lnTo>
                    <a:lnTo>
                      <a:pt x="4476" y="1673"/>
                    </a:lnTo>
                    <a:lnTo>
                      <a:pt x="4412" y="1699"/>
                    </a:lnTo>
                    <a:lnTo>
                      <a:pt x="4353" y="1735"/>
                    </a:lnTo>
                    <a:lnTo>
                      <a:pt x="4300" y="1779"/>
                    </a:lnTo>
                    <a:lnTo>
                      <a:pt x="4252" y="1829"/>
                    </a:lnTo>
                    <a:lnTo>
                      <a:pt x="4211" y="1888"/>
                    </a:lnTo>
                    <a:lnTo>
                      <a:pt x="4154" y="1982"/>
                    </a:lnTo>
                    <a:lnTo>
                      <a:pt x="4154" y="1973"/>
                    </a:lnTo>
                    <a:lnTo>
                      <a:pt x="3478" y="1973"/>
                    </a:lnTo>
                    <a:lnTo>
                      <a:pt x="3382" y="1968"/>
                    </a:lnTo>
                    <a:lnTo>
                      <a:pt x="3287" y="1952"/>
                    </a:lnTo>
                    <a:lnTo>
                      <a:pt x="3198" y="1927"/>
                    </a:lnTo>
                    <a:lnTo>
                      <a:pt x="3113" y="1893"/>
                    </a:lnTo>
                    <a:lnTo>
                      <a:pt x="3033" y="1852"/>
                    </a:lnTo>
                    <a:lnTo>
                      <a:pt x="2956" y="1803"/>
                    </a:lnTo>
                    <a:lnTo>
                      <a:pt x="2887" y="1746"/>
                    </a:lnTo>
                    <a:lnTo>
                      <a:pt x="2823" y="1682"/>
                    </a:lnTo>
                    <a:lnTo>
                      <a:pt x="2766" y="1612"/>
                    </a:lnTo>
                    <a:lnTo>
                      <a:pt x="2716" y="1536"/>
                    </a:lnTo>
                    <a:lnTo>
                      <a:pt x="2675" y="1456"/>
                    </a:lnTo>
                    <a:lnTo>
                      <a:pt x="2641" y="1370"/>
                    </a:lnTo>
                    <a:lnTo>
                      <a:pt x="2616" y="1281"/>
                    </a:lnTo>
                    <a:lnTo>
                      <a:pt x="2600" y="1187"/>
                    </a:lnTo>
                    <a:lnTo>
                      <a:pt x="2597" y="1093"/>
                    </a:lnTo>
                    <a:lnTo>
                      <a:pt x="2597" y="416"/>
                    </a:lnTo>
                    <a:lnTo>
                      <a:pt x="881" y="416"/>
                    </a:lnTo>
                    <a:lnTo>
                      <a:pt x="814" y="420"/>
                    </a:lnTo>
                    <a:lnTo>
                      <a:pt x="748" y="436"/>
                    </a:lnTo>
                    <a:lnTo>
                      <a:pt x="685" y="459"/>
                    </a:lnTo>
                    <a:lnTo>
                      <a:pt x="628" y="491"/>
                    </a:lnTo>
                    <a:lnTo>
                      <a:pt x="577" y="530"/>
                    </a:lnTo>
                    <a:lnTo>
                      <a:pt x="531" y="577"/>
                    </a:lnTo>
                    <a:lnTo>
                      <a:pt x="491" y="628"/>
                    </a:lnTo>
                    <a:lnTo>
                      <a:pt x="459" y="685"/>
                    </a:lnTo>
                    <a:lnTo>
                      <a:pt x="436" y="747"/>
                    </a:lnTo>
                    <a:lnTo>
                      <a:pt x="420" y="813"/>
                    </a:lnTo>
                    <a:lnTo>
                      <a:pt x="417" y="881"/>
                    </a:lnTo>
                    <a:lnTo>
                      <a:pt x="417" y="4991"/>
                    </a:lnTo>
                    <a:lnTo>
                      <a:pt x="420" y="5061"/>
                    </a:lnTo>
                    <a:lnTo>
                      <a:pt x="436" y="5125"/>
                    </a:lnTo>
                    <a:lnTo>
                      <a:pt x="459" y="5187"/>
                    </a:lnTo>
                    <a:lnTo>
                      <a:pt x="491" y="5244"/>
                    </a:lnTo>
                    <a:lnTo>
                      <a:pt x="531" y="5297"/>
                    </a:lnTo>
                    <a:lnTo>
                      <a:pt x="577" y="5342"/>
                    </a:lnTo>
                    <a:lnTo>
                      <a:pt x="628" y="5381"/>
                    </a:lnTo>
                    <a:lnTo>
                      <a:pt x="685" y="5413"/>
                    </a:lnTo>
                    <a:lnTo>
                      <a:pt x="748" y="5438"/>
                    </a:lnTo>
                    <a:lnTo>
                      <a:pt x="814" y="5452"/>
                    </a:lnTo>
                    <a:lnTo>
                      <a:pt x="881" y="5457"/>
                    </a:lnTo>
                    <a:lnTo>
                      <a:pt x="3688" y="5457"/>
                    </a:lnTo>
                    <a:lnTo>
                      <a:pt x="3755" y="5452"/>
                    </a:lnTo>
                    <a:lnTo>
                      <a:pt x="3821" y="5438"/>
                    </a:lnTo>
                    <a:lnTo>
                      <a:pt x="3883" y="5413"/>
                    </a:lnTo>
                    <a:lnTo>
                      <a:pt x="3940" y="5381"/>
                    </a:lnTo>
                    <a:lnTo>
                      <a:pt x="3992" y="5342"/>
                    </a:lnTo>
                    <a:lnTo>
                      <a:pt x="4038" y="5297"/>
                    </a:lnTo>
                    <a:lnTo>
                      <a:pt x="4077" y="5244"/>
                    </a:lnTo>
                    <a:lnTo>
                      <a:pt x="4109" y="5187"/>
                    </a:lnTo>
                    <a:lnTo>
                      <a:pt x="4133" y="5125"/>
                    </a:lnTo>
                    <a:lnTo>
                      <a:pt x="4149" y="5061"/>
                    </a:lnTo>
                    <a:lnTo>
                      <a:pt x="4154" y="4991"/>
                    </a:lnTo>
                    <a:lnTo>
                      <a:pt x="4154" y="4158"/>
                    </a:lnTo>
                    <a:lnTo>
                      <a:pt x="4163" y="4153"/>
                    </a:lnTo>
                    <a:lnTo>
                      <a:pt x="4569" y="3468"/>
                    </a:lnTo>
                    <a:lnTo>
                      <a:pt x="4569" y="4991"/>
                    </a:lnTo>
                    <a:lnTo>
                      <a:pt x="4563" y="5087"/>
                    </a:lnTo>
                    <a:lnTo>
                      <a:pt x="4547" y="5180"/>
                    </a:lnTo>
                    <a:lnTo>
                      <a:pt x="4524" y="5269"/>
                    </a:lnTo>
                    <a:lnTo>
                      <a:pt x="4490" y="5354"/>
                    </a:lnTo>
                    <a:lnTo>
                      <a:pt x="4448" y="5436"/>
                    </a:lnTo>
                    <a:lnTo>
                      <a:pt x="4398" y="5511"/>
                    </a:lnTo>
                    <a:lnTo>
                      <a:pt x="4341" y="5580"/>
                    </a:lnTo>
                    <a:lnTo>
                      <a:pt x="4277" y="5644"/>
                    </a:lnTo>
                    <a:lnTo>
                      <a:pt x="4207" y="5701"/>
                    </a:lnTo>
                    <a:lnTo>
                      <a:pt x="4131" y="5751"/>
                    </a:lnTo>
                    <a:lnTo>
                      <a:pt x="4051" y="5794"/>
                    </a:lnTo>
                    <a:lnTo>
                      <a:pt x="3965" y="5828"/>
                    </a:lnTo>
                    <a:lnTo>
                      <a:pt x="3876" y="5852"/>
                    </a:lnTo>
                    <a:lnTo>
                      <a:pt x="3784" y="5867"/>
                    </a:lnTo>
                    <a:lnTo>
                      <a:pt x="3688" y="5872"/>
                    </a:lnTo>
                    <a:lnTo>
                      <a:pt x="881" y="5872"/>
                    </a:lnTo>
                    <a:lnTo>
                      <a:pt x="785" y="5867"/>
                    </a:lnTo>
                    <a:lnTo>
                      <a:pt x="693" y="5852"/>
                    </a:lnTo>
                    <a:lnTo>
                      <a:pt x="604" y="5828"/>
                    </a:lnTo>
                    <a:lnTo>
                      <a:pt x="518" y="5794"/>
                    </a:lnTo>
                    <a:lnTo>
                      <a:pt x="438" y="5751"/>
                    </a:lnTo>
                    <a:lnTo>
                      <a:pt x="361" y="5701"/>
                    </a:lnTo>
                    <a:lnTo>
                      <a:pt x="292" y="5644"/>
                    </a:lnTo>
                    <a:lnTo>
                      <a:pt x="228" y="5580"/>
                    </a:lnTo>
                    <a:lnTo>
                      <a:pt x="171" y="5511"/>
                    </a:lnTo>
                    <a:lnTo>
                      <a:pt x="121" y="5436"/>
                    </a:lnTo>
                    <a:lnTo>
                      <a:pt x="79" y="5354"/>
                    </a:lnTo>
                    <a:lnTo>
                      <a:pt x="46" y="5269"/>
                    </a:lnTo>
                    <a:lnTo>
                      <a:pt x="22" y="5180"/>
                    </a:lnTo>
                    <a:lnTo>
                      <a:pt x="6" y="5087"/>
                    </a:lnTo>
                    <a:lnTo>
                      <a:pt x="0" y="4991"/>
                    </a:lnTo>
                    <a:lnTo>
                      <a:pt x="0" y="881"/>
                    </a:lnTo>
                    <a:lnTo>
                      <a:pt x="6" y="785"/>
                    </a:lnTo>
                    <a:lnTo>
                      <a:pt x="22" y="692"/>
                    </a:lnTo>
                    <a:lnTo>
                      <a:pt x="46" y="603"/>
                    </a:lnTo>
                    <a:lnTo>
                      <a:pt x="79" y="518"/>
                    </a:lnTo>
                    <a:lnTo>
                      <a:pt x="121" y="438"/>
                    </a:lnTo>
                    <a:lnTo>
                      <a:pt x="171" y="361"/>
                    </a:lnTo>
                    <a:lnTo>
                      <a:pt x="228" y="292"/>
                    </a:lnTo>
                    <a:lnTo>
                      <a:pt x="292" y="228"/>
                    </a:lnTo>
                    <a:lnTo>
                      <a:pt x="361" y="171"/>
                    </a:lnTo>
                    <a:lnTo>
                      <a:pt x="438" y="121"/>
                    </a:lnTo>
                    <a:lnTo>
                      <a:pt x="518" y="78"/>
                    </a:lnTo>
                    <a:lnTo>
                      <a:pt x="604" y="46"/>
                    </a:lnTo>
                    <a:lnTo>
                      <a:pt x="693" y="21"/>
                    </a:lnTo>
                    <a:lnTo>
                      <a:pt x="785" y="5"/>
                    </a:lnTo>
                    <a:lnTo>
                      <a:pt x="881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20" name="Gruppieren 19"/>
          <p:cNvGrpSpPr/>
          <p:nvPr/>
        </p:nvGrpSpPr>
        <p:grpSpPr>
          <a:xfrm>
            <a:off x="3279511" y="1860079"/>
            <a:ext cx="2640558" cy="1420317"/>
            <a:chOff x="3308697" y="1860079"/>
            <a:chExt cx="2640558" cy="1420317"/>
          </a:xfrm>
        </p:grpSpPr>
        <p:sp>
          <p:nvSpPr>
            <p:cNvPr id="26" name="Textfeld 25"/>
            <p:cNvSpPr txBox="1"/>
            <p:nvPr/>
          </p:nvSpPr>
          <p:spPr>
            <a:xfrm>
              <a:off x="3308697" y="2295511"/>
              <a:ext cx="2640558" cy="984885"/>
            </a:xfrm>
            <a:prstGeom prst="rect">
              <a:avLst/>
            </a:prstGeom>
            <a:noFill/>
          </p:spPr>
          <p:txBody>
            <a:bodyPr wrap="square" rIns="0" rtlCol="0">
              <a:spAutoFit/>
            </a:bodyPr>
            <a:lstStyle/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altLang="zh-CN" sz="1200" dirty="0"/>
                <a:t>Популярная модель</a:t>
              </a:r>
              <a:endParaRPr lang="en-US" altLang="zh-CN" sz="1200" dirty="0"/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altLang="zh-CN" sz="1200" dirty="0"/>
                <a:t>Самые яркие на российском рынке</a:t>
              </a:r>
              <a:endParaRPr lang="en-US" altLang="zh-CN" sz="1200" dirty="0"/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altLang="zh-CN" sz="1200" dirty="0"/>
                <a:t>Улучшение без изменения цены.</a:t>
              </a:r>
              <a:endParaRPr lang="en-US" altLang="zh-CN" sz="1200" dirty="0"/>
            </a:p>
          </p:txBody>
        </p:sp>
        <p:grpSp>
          <p:nvGrpSpPr>
            <p:cNvPr id="19" name="Gruppieren 18"/>
            <p:cNvGrpSpPr/>
            <p:nvPr/>
          </p:nvGrpSpPr>
          <p:grpSpPr>
            <a:xfrm>
              <a:off x="3308697" y="1860079"/>
              <a:ext cx="2640558" cy="360000"/>
              <a:chOff x="3308697" y="1860079"/>
              <a:chExt cx="2640558" cy="360000"/>
            </a:xfrm>
          </p:grpSpPr>
          <p:grpSp>
            <p:nvGrpSpPr>
              <p:cNvPr id="28" name="Gruppieren 27"/>
              <p:cNvGrpSpPr/>
              <p:nvPr/>
            </p:nvGrpSpPr>
            <p:grpSpPr>
              <a:xfrm>
                <a:off x="3308697" y="1860079"/>
                <a:ext cx="2640558" cy="360000"/>
                <a:chOff x="426036" y="1860079"/>
                <a:chExt cx="2640558" cy="360000"/>
              </a:xfrm>
            </p:grpSpPr>
            <p:sp>
              <p:nvSpPr>
                <p:cNvPr id="30" name="AutoShape 3"/>
                <p:cNvSpPr>
                  <a:spLocks noChangeArrowheads="1"/>
                </p:cNvSpPr>
                <p:nvPr/>
              </p:nvSpPr>
              <p:spPr bwMode="auto">
                <a:xfrm>
                  <a:off x="504136" y="1886363"/>
                  <a:ext cx="2562458" cy="307433"/>
                </a:xfrm>
                <a:prstGeom prst="roundRect">
                  <a:avLst>
                    <a:gd name="adj" fmla="val 0"/>
                  </a:avLst>
                </a:prstGeom>
                <a:solidFill>
                  <a:srgbClr val="FF6600"/>
                </a:solidFill>
                <a:ln w="0" algn="ctr">
                  <a:noFill/>
                  <a:round/>
                </a:ln>
                <a:effectLst/>
              </p:spPr>
              <p:txBody>
                <a:bodyPr lIns="360000" tIns="0" rIns="36000" bIns="0" anchor="ctr"/>
                <a:lstStyle/>
                <a:p>
                  <a:pPr defTabSz="762000" eaLnBrk="0" hangingPunct="0">
                    <a:lnSpc>
                      <a:spcPct val="90000"/>
                    </a:lnSpc>
                    <a:buClr>
                      <a:srgbClr val="BFBFBF"/>
                    </a:buClr>
                  </a:pPr>
                  <a:r>
                    <a:rPr lang="ru-RU" altLang="zh-CN" b="1" dirty="0">
                      <a:solidFill>
                        <a:srgbClr val="FFFFFF"/>
                      </a:solidFill>
                      <a:latin typeface="Calibri" panose="020F0502020204030204" pitchFamily="34" charset="0"/>
                    </a:rPr>
                    <a:t>УТП</a:t>
                  </a:r>
                  <a:endParaRPr lang="en-US" altLang="zh-CN" b="1" dirty="0">
                    <a:solidFill>
                      <a:srgbClr val="FFFFFF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37" name="AutoShape 3"/>
                <p:cNvSpPr>
                  <a:spLocks noChangeArrowheads="1"/>
                </p:cNvSpPr>
                <p:nvPr/>
              </p:nvSpPr>
              <p:spPr bwMode="auto">
                <a:xfrm>
                  <a:off x="426036" y="1860079"/>
                  <a:ext cx="360000" cy="360000"/>
                </a:xfrm>
                <a:prstGeom prst="ellipse">
                  <a:avLst/>
                </a:prstGeom>
                <a:solidFill>
                  <a:schemeClr val="bg1"/>
                </a:solidFill>
                <a:ln w="0" algn="ctr">
                  <a:solidFill>
                    <a:schemeClr val="accent1"/>
                  </a:solidFill>
                  <a:round/>
                </a:ln>
                <a:effectLst/>
              </p:spPr>
              <p:txBody>
                <a:bodyPr wrap="none" lIns="0" tIns="36000" rIns="0" bIns="36000" anchor="ctr">
                  <a:noAutofit/>
                </a:bodyPr>
                <a:lstStyle/>
                <a:p>
                  <a:pPr algn="ctr" defTabSz="762000" eaLnBrk="0" hangingPunct="0">
                    <a:lnSpc>
                      <a:spcPct val="90000"/>
                    </a:lnSpc>
                    <a:buClr>
                      <a:srgbClr val="BFBFBF"/>
                    </a:buClr>
                  </a:pPr>
                  <a:r>
                    <a:rPr lang="en-US" altLang="zh-CN" sz="1600" b="1" dirty="0">
                      <a:solidFill>
                        <a:schemeClr val="accent1"/>
                      </a:solidFill>
                      <a:latin typeface="Calibri" panose="020F0502020204030204" pitchFamily="34" charset="0"/>
                    </a:rPr>
                    <a:t> 2.</a:t>
                  </a:r>
                  <a:endParaRPr lang="en-US" altLang="zh-CN" sz="1600" b="1" dirty="0">
                    <a:solidFill>
                      <a:schemeClr val="accent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sp>
            <p:nvSpPr>
              <p:cNvPr id="84" name="Freeform 5"/>
              <p:cNvSpPr>
                <a:spLocks noEditPoints="1"/>
              </p:cNvSpPr>
              <p:nvPr/>
            </p:nvSpPr>
            <p:spPr bwMode="auto">
              <a:xfrm>
                <a:off x="5634172" y="1917114"/>
                <a:ext cx="245804" cy="245931"/>
              </a:xfrm>
              <a:custGeom>
                <a:avLst/>
                <a:gdLst>
                  <a:gd name="T0" fmla="*/ 1995 w 3219"/>
                  <a:gd name="T1" fmla="*/ 2606 h 3220"/>
                  <a:gd name="T2" fmla="*/ 1759 w 3219"/>
                  <a:gd name="T3" fmla="*/ 2347 h 3220"/>
                  <a:gd name="T4" fmla="*/ 942 w 3219"/>
                  <a:gd name="T5" fmla="*/ 1758 h 3220"/>
                  <a:gd name="T6" fmla="*/ 948 w 3219"/>
                  <a:gd name="T7" fmla="*/ 1797 h 3220"/>
                  <a:gd name="T8" fmla="*/ 971 w 3219"/>
                  <a:gd name="T9" fmla="*/ 1834 h 3220"/>
                  <a:gd name="T10" fmla="*/ 579 w 3219"/>
                  <a:gd name="T11" fmla="*/ 1865 h 3220"/>
                  <a:gd name="T12" fmla="*/ 620 w 3219"/>
                  <a:gd name="T13" fmla="*/ 1807 h 3220"/>
                  <a:gd name="T14" fmla="*/ 632 w 3219"/>
                  <a:gd name="T15" fmla="*/ 1758 h 3220"/>
                  <a:gd name="T16" fmla="*/ 1575 w 3219"/>
                  <a:gd name="T17" fmla="*/ 2700 h 3220"/>
                  <a:gd name="T18" fmla="*/ 1440 w 3219"/>
                  <a:gd name="T19" fmla="*/ 943 h 3220"/>
                  <a:gd name="T20" fmla="*/ 518 w 3219"/>
                  <a:gd name="T21" fmla="*/ 1573 h 3220"/>
                  <a:gd name="T22" fmla="*/ 658 w 3219"/>
                  <a:gd name="T23" fmla="*/ 1878 h 3220"/>
                  <a:gd name="T24" fmla="*/ 928 w 3219"/>
                  <a:gd name="T25" fmla="*/ 2095 h 3220"/>
                  <a:gd name="T26" fmla="*/ 1056 w 3219"/>
                  <a:gd name="T27" fmla="*/ 1573 h 3220"/>
                  <a:gd name="T28" fmla="*/ 1461 w 3219"/>
                  <a:gd name="T29" fmla="*/ 941 h 3220"/>
                  <a:gd name="T30" fmla="*/ 1412 w 3219"/>
                  <a:gd name="T31" fmla="*/ 952 h 3220"/>
                  <a:gd name="T32" fmla="*/ 1224 w 3219"/>
                  <a:gd name="T33" fmla="*/ 1030 h 3220"/>
                  <a:gd name="T34" fmla="*/ 1355 w 3219"/>
                  <a:gd name="T35" fmla="*/ 579 h 3220"/>
                  <a:gd name="T36" fmla="*/ 1385 w 3219"/>
                  <a:gd name="T37" fmla="*/ 602 h 3220"/>
                  <a:gd name="T38" fmla="*/ 1412 w 3219"/>
                  <a:gd name="T39" fmla="*/ 619 h 3220"/>
                  <a:gd name="T40" fmla="*/ 1461 w 3219"/>
                  <a:gd name="T41" fmla="*/ 631 h 3220"/>
                  <a:gd name="T42" fmla="*/ 0 w 3219"/>
                  <a:gd name="T43" fmla="*/ 1573 h 3220"/>
                  <a:gd name="T44" fmla="*/ 1644 w 3219"/>
                  <a:gd name="T45" fmla="*/ 517 h 3220"/>
                  <a:gd name="T46" fmla="*/ 1396 w 3219"/>
                  <a:gd name="T47" fmla="*/ 689 h 3220"/>
                  <a:gd name="T48" fmla="*/ 1342 w 3219"/>
                  <a:gd name="T49" fmla="*/ 658 h 3220"/>
                  <a:gd name="T50" fmla="*/ 1337 w 3219"/>
                  <a:gd name="T51" fmla="*/ 917 h 3220"/>
                  <a:gd name="T52" fmla="*/ 1368 w 3219"/>
                  <a:gd name="T53" fmla="*/ 894 h 3220"/>
                  <a:gd name="T54" fmla="*/ 1644 w 3219"/>
                  <a:gd name="T55" fmla="*/ 1054 h 3220"/>
                  <a:gd name="T56" fmla="*/ 2226 w 3219"/>
                  <a:gd name="T57" fmla="*/ 1554 h 3220"/>
                  <a:gd name="T58" fmla="*/ 2270 w 3219"/>
                  <a:gd name="T59" fmla="*/ 1494 h 3220"/>
                  <a:gd name="T60" fmla="*/ 2188 w 3219"/>
                  <a:gd name="T61" fmla="*/ 1223 h 3220"/>
                  <a:gd name="T62" fmla="*/ 2671 w 3219"/>
                  <a:gd name="T63" fmla="*/ 1273 h 3220"/>
                  <a:gd name="T64" fmla="*/ 2640 w 3219"/>
                  <a:gd name="T65" fmla="*/ 1351 h 3220"/>
                  <a:gd name="T66" fmla="*/ 2587 w 3219"/>
                  <a:gd name="T67" fmla="*/ 1458 h 3220"/>
                  <a:gd name="T68" fmla="*/ 1644 w 3219"/>
                  <a:gd name="T69" fmla="*/ 0 h 3220"/>
                  <a:gd name="T70" fmla="*/ 3219 w 3219"/>
                  <a:gd name="T71" fmla="*/ 3218 h 3220"/>
                  <a:gd name="T72" fmla="*/ 1647 w 3219"/>
                  <a:gd name="T73" fmla="*/ 2676 h 3220"/>
                  <a:gd name="T74" fmla="*/ 1832 w 3219"/>
                  <a:gd name="T75" fmla="*/ 2613 h 3220"/>
                  <a:gd name="T76" fmla="*/ 1938 w 3219"/>
                  <a:gd name="T77" fmla="*/ 2668 h 3220"/>
                  <a:gd name="T78" fmla="*/ 1828 w 3219"/>
                  <a:gd name="T79" fmla="*/ 2252 h 3220"/>
                  <a:gd name="T80" fmla="*/ 2170 w 3219"/>
                  <a:gd name="T81" fmla="*/ 1644 h 3220"/>
                  <a:gd name="T82" fmla="*/ 2263 w 3219"/>
                  <a:gd name="T83" fmla="*/ 1614 h 3220"/>
                  <a:gd name="T84" fmla="*/ 2339 w 3219"/>
                  <a:gd name="T85" fmla="*/ 1515 h 3220"/>
                  <a:gd name="T86" fmla="*/ 2344 w 3219"/>
                  <a:gd name="T87" fmla="*/ 1428 h 3220"/>
                  <a:gd name="T88" fmla="*/ 2323 w 3219"/>
                  <a:gd name="T89" fmla="*/ 1368 h 3220"/>
                  <a:gd name="T90" fmla="*/ 2305 w 3219"/>
                  <a:gd name="T91" fmla="*/ 1342 h 3220"/>
                  <a:gd name="T92" fmla="*/ 2605 w 3219"/>
                  <a:gd name="T93" fmla="*/ 1224 h 3220"/>
                  <a:gd name="T94" fmla="*/ 2579 w 3219"/>
                  <a:gd name="T95" fmla="*/ 1317 h 3220"/>
                  <a:gd name="T96" fmla="*/ 2544 w 3219"/>
                  <a:gd name="T97" fmla="*/ 1365 h 3220"/>
                  <a:gd name="T98" fmla="*/ 2524 w 3219"/>
                  <a:gd name="T99" fmla="*/ 1410 h 3220"/>
                  <a:gd name="T100" fmla="*/ 2517 w 3219"/>
                  <a:gd name="T101" fmla="*/ 1458 h 3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219" h="3220">
                    <a:moveTo>
                      <a:pt x="1759" y="2516"/>
                    </a:moveTo>
                    <a:lnTo>
                      <a:pt x="1759" y="2516"/>
                    </a:lnTo>
                    <a:lnTo>
                      <a:pt x="1759" y="2516"/>
                    </a:lnTo>
                    <a:cubicBezTo>
                      <a:pt x="1804" y="2516"/>
                      <a:pt x="1847" y="2533"/>
                      <a:pt x="1878" y="2560"/>
                    </a:cubicBezTo>
                    <a:cubicBezTo>
                      <a:pt x="1909" y="2589"/>
                      <a:pt x="1950" y="2606"/>
                      <a:pt x="1995" y="2606"/>
                    </a:cubicBezTo>
                    <a:cubicBezTo>
                      <a:pt x="2091" y="2604"/>
                      <a:pt x="2169" y="2527"/>
                      <a:pt x="2169" y="2431"/>
                    </a:cubicBezTo>
                    <a:cubicBezTo>
                      <a:pt x="2169" y="2336"/>
                      <a:pt x="2091" y="2258"/>
                      <a:pt x="1995" y="2258"/>
                    </a:cubicBezTo>
                    <a:cubicBezTo>
                      <a:pt x="1949" y="2258"/>
                      <a:pt x="1908" y="2276"/>
                      <a:pt x="1877" y="2305"/>
                    </a:cubicBezTo>
                    <a:lnTo>
                      <a:pt x="1876" y="2305"/>
                    </a:lnTo>
                    <a:cubicBezTo>
                      <a:pt x="1845" y="2331"/>
                      <a:pt x="1803" y="2348"/>
                      <a:pt x="1759" y="2347"/>
                    </a:cubicBezTo>
                    <a:cubicBezTo>
                      <a:pt x="1657" y="2347"/>
                      <a:pt x="1575" y="2264"/>
                      <a:pt x="1575" y="2163"/>
                    </a:cubicBezTo>
                    <a:lnTo>
                      <a:pt x="1575" y="1644"/>
                    </a:lnTo>
                    <a:lnTo>
                      <a:pt x="1056" y="1644"/>
                    </a:lnTo>
                    <a:cubicBezTo>
                      <a:pt x="1032" y="1644"/>
                      <a:pt x="1011" y="1651"/>
                      <a:pt x="993" y="1665"/>
                    </a:cubicBezTo>
                    <a:cubicBezTo>
                      <a:pt x="962" y="1685"/>
                      <a:pt x="942" y="1718"/>
                      <a:pt x="942" y="1758"/>
                    </a:cubicBezTo>
                    <a:cubicBezTo>
                      <a:pt x="942" y="1760"/>
                      <a:pt x="942" y="1765"/>
                      <a:pt x="944" y="1772"/>
                    </a:cubicBezTo>
                    <a:cubicBezTo>
                      <a:pt x="944" y="1776"/>
                      <a:pt x="944" y="1777"/>
                      <a:pt x="944" y="1778"/>
                    </a:cubicBezTo>
                    <a:lnTo>
                      <a:pt x="944" y="1779"/>
                    </a:lnTo>
                    <a:cubicBezTo>
                      <a:pt x="945" y="1780"/>
                      <a:pt x="945" y="1784"/>
                      <a:pt x="947" y="1789"/>
                    </a:cubicBezTo>
                    <a:cubicBezTo>
                      <a:pt x="948" y="1796"/>
                      <a:pt x="948" y="1797"/>
                      <a:pt x="948" y="1797"/>
                    </a:cubicBezTo>
                    <a:cubicBezTo>
                      <a:pt x="950" y="1798"/>
                      <a:pt x="951" y="1802"/>
                      <a:pt x="954" y="1808"/>
                    </a:cubicBezTo>
                    <a:cubicBezTo>
                      <a:pt x="957" y="1813"/>
                      <a:pt x="957" y="1814"/>
                      <a:pt x="958" y="1815"/>
                    </a:cubicBezTo>
                    <a:cubicBezTo>
                      <a:pt x="958" y="1816"/>
                      <a:pt x="960" y="1820"/>
                      <a:pt x="963" y="1823"/>
                    </a:cubicBezTo>
                    <a:cubicBezTo>
                      <a:pt x="965" y="1827"/>
                      <a:pt x="968" y="1829"/>
                      <a:pt x="968" y="1829"/>
                    </a:cubicBezTo>
                    <a:cubicBezTo>
                      <a:pt x="969" y="1832"/>
                      <a:pt x="970" y="1833"/>
                      <a:pt x="971" y="1834"/>
                    </a:cubicBezTo>
                    <a:lnTo>
                      <a:pt x="970" y="1834"/>
                    </a:lnTo>
                    <a:cubicBezTo>
                      <a:pt x="1008" y="1876"/>
                      <a:pt x="1031" y="1932"/>
                      <a:pt x="1031" y="1994"/>
                    </a:cubicBezTo>
                    <a:cubicBezTo>
                      <a:pt x="1031" y="2128"/>
                      <a:pt x="922" y="2238"/>
                      <a:pt x="787" y="2238"/>
                    </a:cubicBezTo>
                    <a:cubicBezTo>
                      <a:pt x="652" y="2238"/>
                      <a:pt x="542" y="2129"/>
                      <a:pt x="542" y="1994"/>
                    </a:cubicBezTo>
                    <a:cubicBezTo>
                      <a:pt x="542" y="1946"/>
                      <a:pt x="556" y="1902"/>
                      <a:pt x="579" y="1865"/>
                    </a:cubicBezTo>
                    <a:cubicBezTo>
                      <a:pt x="586" y="1854"/>
                      <a:pt x="595" y="1844"/>
                      <a:pt x="601" y="1838"/>
                    </a:cubicBezTo>
                    <a:cubicBezTo>
                      <a:pt x="601" y="1837"/>
                      <a:pt x="603" y="1834"/>
                      <a:pt x="607" y="1829"/>
                    </a:cubicBezTo>
                    <a:cubicBezTo>
                      <a:pt x="607" y="1829"/>
                      <a:pt x="607" y="1828"/>
                      <a:pt x="610" y="1822"/>
                    </a:cubicBezTo>
                    <a:cubicBezTo>
                      <a:pt x="614" y="1817"/>
                      <a:pt x="615" y="1816"/>
                      <a:pt x="616" y="1815"/>
                    </a:cubicBezTo>
                    <a:cubicBezTo>
                      <a:pt x="616" y="1814"/>
                      <a:pt x="617" y="1811"/>
                      <a:pt x="620" y="1807"/>
                    </a:cubicBezTo>
                    <a:cubicBezTo>
                      <a:pt x="622" y="1801"/>
                      <a:pt x="625" y="1798"/>
                      <a:pt x="625" y="1797"/>
                    </a:cubicBezTo>
                    <a:cubicBezTo>
                      <a:pt x="625" y="1797"/>
                      <a:pt x="626" y="1795"/>
                      <a:pt x="627" y="1789"/>
                    </a:cubicBezTo>
                    <a:cubicBezTo>
                      <a:pt x="628" y="1783"/>
                      <a:pt x="629" y="1779"/>
                      <a:pt x="629" y="1778"/>
                    </a:cubicBezTo>
                    <a:cubicBezTo>
                      <a:pt x="629" y="1778"/>
                      <a:pt x="629" y="1777"/>
                      <a:pt x="631" y="1771"/>
                    </a:cubicBezTo>
                    <a:cubicBezTo>
                      <a:pt x="631" y="1764"/>
                      <a:pt x="632" y="1760"/>
                      <a:pt x="632" y="1758"/>
                    </a:cubicBezTo>
                    <a:cubicBezTo>
                      <a:pt x="632" y="1696"/>
                      <a:pt x="580" y="1644"/>
                      <a:pt x="518" y="1644"/>
                    </a:cubicBezTo>
                    <a:lnTo>
                      <a:pt x="0" y="1644"/>
                    </a:lnTo>
                    <a:lnTo>
                      <a:pt x="0" y="3220"/>
                    </a:lnTo>
                    <a:lnTo>
                      <a:pt x="1575" y="3220"/>
                    </a:lnTo>
                    <a:lnTo>
                      <a:pt x="1575" y="2700"/>
                    </a:lnTo>
                    <a:cubicBezTo>
                      <a:pt x="1575" y="2637"/>
                      <a:pt x="1607" y="2581"/>
                      <a:pt x="1656" y="2548"/>
                    </a:cubicBezTo>
                    <a:cubicBezTo>
                      <a:pt x="1685" y="2528"/>
                      <a:pt x="1720" y="2516"/>
                      <a:pt x="1759" y="2516"/>
                    </a:cubicBezTo>
                    <a:lnTo>
                      <a:pt x="1759" y="2516"/>
                    </a:lnTo>
                    <a:close/>
                    <a:moveTo>
                      <a:pt x="1440" y="943"/>
                    </a:moveTo>
                    <a:lnTo>
                      <a:pt x="1440" y="943"/>
                    </a:lnTo>
                    <a:lnTo>
                      <a:pt x="1440" y="943"/>
                    </a:lnTo>
                    <a:lnTo>
                      <a:pt x="1440" y="943"/>
                    </a:lnTo>
                    <a:close/>
                    <a:moveTo>
                      <a:pt x="518" y="1573"/>
                    </a:moveTo>
                    <a:lnTo>
                      <a:pt x="518" y="1573"/>
                    </a:lnTo>
                    <a:lnTo>
                      <a:pt x="518" y="1573"/>
                    </a:lnTo>
                    <a:cubicBezTo>
                      <a:pt x="558" y="1573"/>
                      <a:pt x="596" y="1586"/>
                      <a:pt x="626" y="1608"/>
                    </a:cubicBezTo>
                    <a:cubicBezTo>
                      <a:pt x="672" y="1641"/>
                      <a:pt x="702" y="1696"/>
                      <a:pt x="702" y="1757"/>
                    </a:cubicBezTo>
                    <a:cubicBezTo>
                      <a:pt x="702" y="1798"/>
                      <a:pt x="689" y="1835"/>
                      <a:pt x="668" y="1866"/>
                    </a:cubicBezTo>
                    <a:cubicBezTo>
                      <a:pt x="664" y="1869"/>
                      <a:pt x="662" y="1873"/>
                      <a:pt x="659" y="1876"/>
                    </a:cubicBezTo>
                    <a:lnTo>
                      <a:pt x="658" y="1878"/>
                    </a:lnTo>
                    <a:cubicBezTo>
                      <a:pt x="653" y="1882"/>
                      <a:pt x="650" y="1887"/>
                      <a:pt x="646" y="1892"/>
                    </a:cubicBezTo>
                    <a:cubicBezTo>
                      <a:pt x="626" y="1921"/>
                      <a:pt x="614" y="1955"/>
                      <a:pt x="614" y="1994"/>
                    </a:cubicBezTo>
                    <a:cubicBezTo>
                      <a:pt x="614" y="2051"/>
                      <a:pt x="641" y="2102"/>
                      <a:pt x="686" y="2135"/>
                    </a:cubicBezTo>
                    <a:cubicBezTo>
                      <a:pt x="714" y="2155"/>
                      <a:pt x="749" y="2167"/>
                      <a:pt x="787" y="2167"/>
                    </a:cubicBezTo>
                    <a:cubicBezTo>
                      <a:pt x="844" y="2167"/>
                      <a:pt x="896" y="2139"/>
                      <a:pt x="928" y="2095"/>
                    </a:cubicBezTo>
                    <a:cubicBezTo>
                      <a:pt x="948" y="2066"/>
                      <a:pt x="960" y="2032"/>
                      <a:pt x="960" y="1994"/>
                    </a:cubicBezTo>
                    <a:cubicBezTo>
                      <a:pt x="960" y="1947"/>
                      <a:pt x="944" y="1906"/>
                      <a:pt x="914" y="1875"/>
                    </a:cubicBezTo>
                    <a:cubicBezTo>
                      <a:pt x="887" y="1843"/>
                      <a:pt x="872" y="1802"/>
                      <a:pt x="872" y="1757"/>
                    </a:cubicBezTo>
                    <a:cubicBezTo>
                      <a:pt x="872" y="1718"/>
                      <a:pt x="884" y="1679"/>
                      <a:pt x="907" y="1650"/>
                    </a:cubicBezTo>
                    <a:cubicBezTo>
                      <a:pt x="940" y="1603"/>
                      <a:pt x="994" y="1573"/>
                      <a:pt x="1056" y="1573"/>
                    </a:cubicBezTo>
                    <a:lnTo>
                      <a:pt x="1575" y="1573"/>
                    </a:lnTo>
                    <a:lnTo>
                      <a:pt x="1575" y="1054"/>
                    </a:lnTo>
                    <a:cubicBezTo>
                      <a:pt x="1575" y="1031"/>
                      <a:pt x="1567" y="1009"/>
                      <a:pt x="1554" y="991"/>
                    </a:cubicBezTo>
                    <a:cubicBezTo>
                      <a:pt x="1547" y="979"/>
                      <a:pt x="1538" y="970"/>
                      <a:pt x="1527" y="963"/>
                    </a:cubicBezTo>
                    <a:cubicBezTo>
                      <a:pt x="1508" y="948"/>
                      <a:pt x="1485" y="941"/>
                      <a:pt x="1461" y="941"/>
                    </a:cubicBezTo>
                    <a:cubicBezTo>
                      <a:pt x="1458" y="941"/>
                      <a:pt x="1453" y="941"/>
                      <a:pt x="1446" y="942"/>
                    </a:cubicBezTo>
                    <a:cubicBezTo>
                      <a:pt x="1442" y="942"/>
                      <a:pt x="1441" y="942"/>
                      <a:pt x="1441" y="942"/>
                    </a:cubicBezTo>
                    <a:cubicBezTo>
                      <a:pt x="1438" y="942"/>
                      <a:pt x="1436" y="943"/>
                      <a:pt x="1428" y="946"/>
                    </a:cubicBezTo>
                    <a:cubicBezTo>
                      <a:pt x="1424" y="947"/>
                      <a:pt x="1422" y="948"/>
                      <a:pt x="1421" y="948"/>
                    </a:cubicBezTo>
                    <a:cubicBezTo>
                      <a:pt x="1421" y="948"/>
                      <a:pt x="1417" y="949"/>
                      <a:pt x="1412" y="952"/>
                    </a:cubicBezTo>
                    <a:cubicBezTo>
                      <a:pt x="1406" y="955"/>
                      <a:pt x="1404" y="957"/>
                      <a:pt x="1404" y="957"/>
                    </a:cubicBezTo>
                    <a:cubicBezTo>
                      <a:pt x="1403" y="957"/>
                      <a:pt x="1400" y="959"/>
                      <a:pt x="1394" y="963"/>
                    </a:cubicBezTo>
                    <a:cubicBezTo>
                      <a:pt x="1392" y="965"/>
                      <a:pt x="1391" y="965"/>
                      <a:pt x="1389" y="966"/>
                    </a:cubicBezTo>
                    <a:cubicBezTo>
                      <a:pt x="1387" y="968"/>
                      <a:pt x="1385" y="970"/>
                      <a:pt x="1385" y="970"/>
                    </a:cubicBezTo>
                    <a:cubicBezTo>
                      <a:pt x="1342" y="1007"/>
                      <a:pt x="1285" y="1030"/>
                      <a:pt x="1224" y="1030"/>
                    </a:cubicBezTo>
                    <a:cubicBezTo>
                      <a:pt x="1172" y="1030"/>
                      <a:pt x="1122" y="1013"/>
                      <a:pt x="1082" y="983"/>
                    </a:cubicBezTo>
                    <a:cubicBezTo>
                      <a:pt x="1021" y="939"/>
                      <a:pt x="981" y="867"/>
                      <a:pt x="981" y="786"/>
                    </a:cubicBezTo>
                    <a:cubicBezTo>
                      <a:pt x="981" y="733"/>
                      <a:pt x="997" y="683"/>
                      <a:pt x="1026" y="644"/>
                    </a:cubicBezTo>
                    <a:cubicBezTo>
                      <a:pt x="1070" y="582"/>
                      <a:pt x="1143" y="541"/>
                      <a:pt x="1224" y="542"/>
                    </a:cubicBezTo>
                    <a:cubicBezTo>
                      <a:pt x="1271" y="542"/>
                      <a:pt x="1315" y="555"/>
                      <a:pt x="1355" y="579"/>
                    </a:cubicBezTo>
                    <a:cubicBezTo>
                      <a:pt x="1354" y="579"/>
                      <a:pt x="1354" y="578"/>
                      <a:pt x="1354" y="578"/>
                    </a:cubicBezTo>
                    <a:lnTo>
                      <a:pt x="1355" y="579"/>
                    </a:lnTo>
                    <a:cubicBezTo>
                      <a:pt x="1357" y="580"/>
                      <a:pt x="1361" y="583"/>
                      <a:pt x="1364" y="586"/>
                    </a:cubicBezTo>
                    <a:cubicBezTo>
                      <a:pt x="1371" y="590"/>
                      <a:pt x="1377" y="596"/>
                      <a:pt x="1383" y="601"/>
                    </a:cubicBezTo>
                    <a:cubicBezTo>
                      <a:pt x="1383" y="601"/>
                      <a:pt x="1383" y="601"/>
                      <a:pt x="1385" y="602"/>
                    </a:cubicBezTo>
                    <a:cubicBezTo>
                      <a:pt x="1385" y="602"/>
                      <a:pt x="1386" y="603"/>
                      <a:pt x="1388" y="604"/>
                    </a:cubicBezTo>
                    <a:cubicBezTo>
                      <a:pt x="1389" y="605"/>
                      <a:pt x="1392" y="607"/>
                      <a:pt x="1397" y="610"/>
                    </a:cubicBezTo>
                    <a:cubicBezTo>
                      <a:pt x="1398" y="611"/>
                      <a:pt x="1400" y="613"/>
                      <a:pt x="1403" y="614"/>
                    </a:cubicBezTo>
                    <a:lnTo>
                      <a:pt x="1404" y="615"/>
                    </a:lnTo>
                    <a:cubicBezTo>
                      <a:pt x="1404" y="615"/>
                      <a:pt x="1407" y="616"/>
                      <a:pt x="1412" y="619"/>
                    </a:cubicBezTo>
                    <a:cubicBezTo>
                      <a:pt x="1418" y="622"/>
                      <a:pt x="1422" y="623"/>
                      <a:pt x="1422" y="623"/>
                    </a:cubicBezTo>
                    <a:cubicBezTo>
                      <a:pt x="1422" y="623"/>
                      <a:pt x="1424" y="625"/>
                      <a:pt x="1431" y="626"/>
                    </a:cubicBezTo>
                    <a:cubicBezTo>
                      <a:pt x="1437" y="627"/>
                      <a:pt x="1440" y="628"/>
                      <a:pt x="1440" y="628"/>
                    </a:cubicBezTo>
                    <a:cubicBezTo>
                      <a:pt x="1440" y="628"/>
                      <a:pt x="1442" y="628"/>
                      <a:pt x="1449" y="629"/>
                    </a:cubicBezTo>
                    <a:cubicBezTo>
                      <a:pt x="1455" y="631"/>
                      <a:pt x="1459" y="631"/>
                      <a:pt x="1461" y="631"/>
                    </a:cubicBezTo>
                    <a:cubicBezTo>
                      <a:pt x="1498" y="631"/>
                      <a:pt x="1533" y="611"/>
                      <a:pt x="1553" y="583"/>
                    </a:cubicBezTo>
                    <a:cubicBezTo>
                      <a:pt x="1566" y="565"/>
                      <a:pt x="1575" y="541"/>
                      <a:pt x="1575" y="517"/>
                    </a:cubicBezTo>
                    <a:lnTo>
                      <a:pt x="1575" y="0"/>
                    </a:lnTo>
                    <a:lnTo>
                      <a:pt x="0" y="0"/>
                    </a:lnTo>
                    <a:lnTo>
                      <a:pt x="0" y="1573"/>
                    </a:lnTo>
                    <a:lnTo>
                      <a:pt x="518" y="1573"/>
                    </a:lnTo>
                    <a:lnTo>
                      <a:pt x="518" y="1573"/>
                    </a:lnTo>
                    <a:close/>
                    <a:moveTo>
                      <a:pt x="1644" y="0"/>
                    </a:moveTo>
                    <a:lnTo>
                      <a:pt x="1644" y="0"/>
                    </a:lnTo>
                    <a:lnTo>
                      <a:pt x="1644" y="517"/>
                    </a:lnTo>
                    <a:cubicBezTo>
                      <a:pt x="1644" y="618"/>
                      <a:pt x="1562" y="701"/>
                      <a:pt x="1460" y="701"/>
                    </a:cubicBezTo>
                    <a:cubicBezTo>
                      <a:pt x="1449" y="701"/>
                      <a:pt x="1439" y="700"/>
                      <a:pt x="1429" y="698"/>
                    </a:cubicBezTo>
                    <a:lnTo>
                      <a:pt x="1428" y="698"/>
                    </a:lnTo>
                    <a:cubicBezTo>
                      <a:pt x="1418" y="696"/>
                      <a:pt x="1411" y="694"/>
                      <a:pt x="1406" y="692"/>
                    </a:cubicBezTo>
                    <a:cubicBezTo>
                      <a:pt x="1406" y="692"/>
                      <a:pt x="1403" y="691"/>
                      <a:pt x="1396" y="689"/>
                    </a:cubicBezTo>
                    <a:cubicBezTo>
                      <a:pt x="1388" y="686"/>
                      <a:pt x="1383" y="683"/>
                      <a:pt x="1379" y="682"/>
                    </a:cubicBezTo>
                    <a:cubicBezTo>
                      <a:pt x="1378" y="681"/>
                      <a:pt x="1374" y="679"/>
                      <a:pt x="1367" y="676"/>
                    </a:cubicBezTo>
                    <a:cubicBezTo>
                      <a:pt x="1360" y="671"/>
                      <a:pt x="1356" y="667"/>
                      <a:pt x="1353" y="665"/>
                    </a:cubicBezTo>
                    <a:cubicBezTo>
                      <a:pt x="1353" y="665"/>
                      <a:pt x="1349" y="664"/>
                      <a:pt x="1343" y="659"/>
                    </a:cubicBezTo>
                    <a:lnTo>
                      <a:pt x="1342" y="658"/>
                    </a:lnTo>
                    <a:cubicBezTo>
                      <a:pt x="1341" y="657"/>
                      <a:pt x="1338" y="655"/>
                      <a:pt x="1336" y="653"/>
                    </a:cubicBezTo>
                    <a:cubicBezTo>
                      <a:pt x="1305" y="628"/>
                      <a:pt x="1267" y="612"/>
                      <a:pt x="1224" y="612"/>
                    </a:cubicBezTo>
                    <a:cubicBezTo>
                      <a:pt x="1128" y="612"/>
                      <a:pt x="1050" y="690"/>
                      <a:pt x="1050" y="786"/>
                    </a:cubicBezTo>
                    <a:cubicBezTo>
                      <a:pt x="1050" y="881"/>
                      <a:pt x="1128" y="959"/>
                      <a:pt x="1224" y="959"/>
                    </a:cubicBezTo>
                    <a:cubicBezTo>
                      <a:pt x="1267" y="959"/>
                      <a:pt x="1305" y="943"/>
                      <a:pt x="1337" y="917"/>
                    </a:cubicBezTo>
                    <a:cubicBezTo>
                      <a:pt x="1339" y="915"/>
                      <a:pt x="1341" y="914"/>
                      <a:pt x="1342" y="914"/>
                    </a:cubicBezTo>
                    <a:lnTo>
                      <a:pt x="1342" y="912"/>
                    </a:lnTo>
                    <a:lnTo>
                      <a:pt x="1343" y="912"/>
                    </a:lnTo>
                    <a:cubicBezTo>
                      <a:pt x="1348" y="908"/>
                      <a:pt x="1351" y="906"/>
                      <a:pt x="1353" y="905"/>
                    </a:cubicBezTo>
                    <a:cubicBezTo>
                      <a:pt x="1356" y="903"/>
                      <a:pt x="1360" y="899"/>
                      <a:pt x="1368" y="894"/>
                    </a:cubicBezTo>
                    <a:cubicBezTo>
                      <a:pt x="1374" y="892"/>
                      <a:pt x="1378" y="890"/>
                      <a:pt x="1378" y="890"/>
                    </a:cubicBezTo>
                    <a:cubicBezTo>
                      <a:pt x="1383" y="887"/>
                      <a:pt x="1388" y="885"/>
                      <a:pt x="1396" y="881"/>
                    </a:cubicBezTo>
                    <a:cubicBezTo>
                      <a:pt x="1403" y="879"/>
                      <a:pt x="1406" y="879"/>
                      <a:pt x="1406" y="879"/>
                    </a:cubicBezTo>
                    <a:cubicBezTo>
                      <a:pt x="1422" y="874"/>
                      <a:pt x="1440" y="871"/>
                      <a:pt x="1460" y="871"/>
                    </a:cubicBezTo>
                    <a:cubicBezTo>
                      <a:pt x="1562" y="871"/>
                      <a:pt x="1644" y="953"/>
                      <a:pt x="1644" y="1054"/>
                    </a:cubicBezTo>
                    <a:lnTo>
                      <a:pt x="1644" y="1573"/>
                    </a:lnTo>
                    <a:lnTo>
                      <a:pt x="2163" y="1573"/>
                    </a:lnTo>
                    <a:cubicBezTo>
                      <a:pt x="2174" y="1573"/>
                      <a:pt x="2184" y="1571"/>
                      <a:pt x="2194" y="1568"/>
                    </a:cubicBezTo>
                    <a:cubicBezTo>
                      <a:pt x="2195" y="1568"/>
                      <a:pt x="2198" y="1567"/>
                      <a:pt x="2200" y="1567"/>
                    </a:cubicBezTo>
                    <a:cubicBezTo>
                      <a:pt x="2209" y="1563"/>
                      <a:pt x="2218" y="1558"/>
                      <a:pt x="2226" y="1554"/>
                    </a:cubicBezTo>
                    <a:cubicBezTo>
                      <a:pt x="2233" y="1549"/>
                      <a:pt x="2239" y="1543"/>
                      <a:pt x="2245" y="1537"/>
                    </a:cubicBezTo>
                    <a:cubicBezTo>
                      <a:pt x="2248" y="1535"/>
                      <a:pt x="2249" y="1534"/>
                      <a:pt x="2250" y="1531"/>
                    </a:cubicBezTo>
                    <a:cubicBezTo>
                      <a:pt x="2254" y="1526"/>
                      <a:pt x="2257" y="1523"/>
                      <a:pt x="2260" y="1518"/>
                    </a:cubicBezTo>
                    <a:cubicBezTo>
                      <a:pt x="2262" y="1514"/>
                      <a:pt x="2263" y="1512"/>
                      <a:pt x="2264" y="1508"/>
                    </a:cubicBezTo>
                    <a:cubicBezTo>
                      <a:pt x="2267" y="1504"/>
                      <a:pt x="2269" y="1499"/>
                      <a:pt x="2270" y="1494"/>
                    </a:cubicBezTo>
                    <a:cubicBezTo>
                      <a:pt x="2272" y="1490"/>
                      <a:pt x="2273" y="1488"/>
                      <a:pt x="2274" y="1484"/>
                    </a:cubicBezTo>
                    <a:cubicBezTo>
                      <a:pt x="2275" y="1477"/>
                      <a:pt x="2276" y="1470"/>
                      <a:pt x="2276" y="1462"/>
                    </a:cubicBezTo>
                    <a:cubicBezTo>
                      <a:pt x="2276" y="1461"/>
                      <a:pt x="2276" y="1461"/>
                      <a:pt x="2276" y="1459"/>
                    </a:cubicBezTo>
                    <a:cubicBezTo>
                      <a:pt x="2276" y="1432"/>
                      <a:pt x="2267" y="1408"/>
                      <a:pt x="2251" y="1388"/>
                    </a:cubicBezTo>
                    <a:cubicBezTo>
                      <a:pt x="2212" y="1345"/>
                      <a:pt x="2188" y="1287"/>
                      <a:pt x="2188" y="1223"/>
                    </a:cubicBezTo>
                    <a:cubicBezTo>
                      <a:pt x="2188" y="1117"/>
                      <a:pt x="2257" y="1027"/>
                      <a:pt x="2353" y="994"/>
                    </a:cubicBezTo>
                    <a:cubicBezTo>
                      <a:pt x="2378" y="985"/>
                      <a:pt x="2404" y="979"/>
                      <a:pt x="2432" y="979"/>
                    </a:cubicBezTo>
                    <a:cubicBezTo>
                      <a:pt x="2567" y="979"/>
                      <a:pt x="2676" y="1088"/>
                      <a:pt x="2676" y="1224"/>
                    </a:cubicBezTo>
                    <a:cubicBezTo>
                      <a:pt x="2676" y="1238"/>
                      <a:pt x="2674" y="1252"/>
                      <a:pt x="2672" y="1266"/>
                    </a:cubicBezTo>
                    <a:cubicBezTo>
                      <a:pt x="2672" y="1268"/>
                      <a:pt x="2671" y="1271"/>
                      <a:pt x="2671" y="1273"/>
                    </a:cubicBezTo>
                    <a:cubicBezTo>
                      <a:pt x="2668" y="1286"/>
                      <a:pt x="2665" y="1298"/>
                      <a:pt x="2660" y="1309"/>
                    </a:cubicBezTo>
                    <a:cubicBezTo>
                      <a:pt x="2660" y="1310"/>
                      <a:pt x="2659" y="1312"/>
                      <a:pt x="2659" y="1314"/>
                    </a:cubicBezTo>
                    <a:cubicBezTo>
                      <a:pt x="2655" y="1323"/>
                      <a:pt x="2650" y="1333"/>
                      <a:pt x="2644" y="1342"/>
                    </a:cubicBezTo>
                    <a:lnTo>
                      <a:pt x="2644" y="1343"/>
                    </a:lnTo>
                    <a:lnTo>
                      <a:pt x="2640" y="1351"/>
                    </a:lnTo>
                    <a:cubicBezTo>
                      <a:pt x="2633" y="1364"/>
                      <a:pt x="2623" y="1376"/>
                      <a:pt x="2613" y="1386"/>
                    </a:cubicBezTo>
                    <a:cubicBezTo>
                      <a:pt x="2605" y="1396"/>
                      <a:pt x="2599" y="1407"/>
                      <a:pt x="2594" y="1419"/>
                    </a:cubicBezTo>
                    <a:lnTo>
                      <a:pt x="2594" y="1420"/>
                    </a:lnTo>
                    <a:cubicBezTo>
                      <a:pt x="2594" y="1420"/>
                      <a:pt x="2594" y="1420"/>
                      <a:pt x="2594" y="1422"/>
                    </a:cubicBezTo>
                    <a:cubicBezTo>
                      <a:pt x="2590" y="1433"/>
                      <a:pt x="2587" y="1445"/>
                      <a:pt x="2587" y="1458"/>
                    </a:cubicBezTo>
                    <a:lnTo>
                      <a:pt x="2587" y="1459"/>
                    </a:lnTo>
                    <a:cubicBezTo>
                      <a:pt x="2587" y="1521"/>
                      <a:pt x="2638" y="1573"/>
                      <a:pt x="2701" y="1573"/>
                    </a:cubicBezTo>
                    <a:lnTo>
                      <a:pt x="3219" y="1573"/>
                    </a:lnTo>
                    <a:lnTo>
                      <a:pt x="3219" y="0"/>
                    </a:lnTo>
                    <a:lnTo>
                      <a:pt x="1644" y="0"/>
                    </a:lnTo>
                    <a:lnTo>
                      <a:pt x="1644" y="0"/>
                    </a:lnTo>
                    <a:close/>
                    <a:moveTo>
                      <a:pt x="2701" y="1644"/>
                    </a:moveTo>
                    <a:lnTo>
                      <a:pt x="2701" y="1644"/>
                    </a:lnTo>
                    <a:lnTo>
                      <a:pt x="3219" y="1644"/>
                    </a:lnTo>
                    <a:lnTo>
                      <a:pt x="3219" y="3218"/>
                    </a:lnTo>
                    <a:lnTo>
                      <a:pt x="1644" y="3218"/>
                    </a:lnTo>
                    <a:lnTo>
                      <a:pt x="1644" y="2699"/>
                    </a:lnTo>
                    <a:cubicBezTo>
                      <a:pt x="1644" y="2697"/>
                      <a:pt x="1644" y="2694"/>
                      <a:pt x="1645" y="2692"/>
                    </a:cubicBezTo>
                    <a:cubicBezTo>
                      <a:pt x="1645" y="2687"/>
                      <a:pt x="1645" y="2681"/>
                      <a:pt x="1647" y="2677"/>
                    </a:cubicBezTo>
                    <a:cubicBezTo>
                      <a:pt x="1647" y="2677"/>
                      <a:pt x="1647" y="2677"/>
                      <a:pt x="1647" y="2676"/>
                    </a:cubicBezTo>
                    <a:cubicBezTo>
                      <a:pt x="1648" y="2668"/>
                      <a:pt x="1650" y="2662"/>
                      <a:pt x="1653" y="2655"/>
                    </a:cubicBezTo>
                    <a:cubicBezTo>
                      <a:pt x="1655" y="2652"/>
                      <a:pt x="1657" y="2649"/>
                      <a:pt x="1659" y="2646"/>
                    </a:cubicBezTo>
                    <a:cubicBezTo>
                      <a:pt x="1661" y="2642"/>
                      <a:pt x="1662" y="2640"/>
                      <a:pt x="1663" y="2636"/>
                    </a:cubicBezTo>
                    <a:cubicBezTo>
                      <a:pt x="1684" y="2606"/>
                      <a:pt x="1718" y="2586"/>
                      <a:pt x="1758" y="2586"/>
                    </a:cubicBezTo>
                    <a:cubicBezTo>
                      <a:pt x="1786" y="2586"/>
                      <a:pt x="1813" y="2597"/>
                      <a:pt x="1832" y="2613"/>
                    </a:cubicBezTo>
                    <a:cubicBezTo>
                      <a:pt x="1839" y="2621"/>
                      <a:pt x="1847" y="2625"/>
                      <a:pt x="1856" y="2631"/>
                    </a:cubicBezTo>
                    <a:cubicBezTo>
                      <a:pt x="1859" y="2634"/>
                      <a:pt x="1862" y="2636"/>
                      <a:pt x="1866" y="2638"/>
                    </a:cubicBezTo>
                    <a:cubicBezTo>
                      <a:pt x="1875" y="2644"/>
                      <a:pt x="1886" y="2649"/>
                      <a:pt x="1895" y="2653"/>
                    </a:cubicBezTo>
                    <a:cubicBezTo>
                      <a:pt x="1899" y="2655"/>
                      <a:pt x="1902" y="2658"/>
                      <a:pt x="1906" y="2659"/>
                    </a:cubicBezTo>
                    <a:cubicBezTo>
                      <a:pt x="1915" y="2662"/>
                      <a:pt x="1927" y="2665"/>
                      <a:pt x="1938" y="2668"/>
                    </a:cubicBezTo>
                    <a:cubicBezTo>
                      <a:pt x="1942" y="2668"/>
                      <a:pt x="1944" y="2670"/>
                      <a:pt x="1948" y="2671"/>
                    </a:cubicBezTo>
                    <a:cubicBezTo>
                      <a:pt x="1963" y="2673"/>
                      <a:pt x="1979" y="2676"/>
                      <a:pt x="1994" y="2676"/>
                    </a:cubicBezTo>
                    <a:cubicBezTo>
                      <a:pt x="2128" y="2676"/>
                      <a:pt x="2238" y="2566"/>
                      <a:pt x="2238" y="2431"/>
                    </a:cubicBezTo>
                    <a:cubicBezTo>
                      <a:pt x="2238" y="2296"/>
                      <a:pt x="2128" y="2187"/>
                      <a:pt x="1994" y="2187"/>
                    </a:cubicBezTo>
                    <a:cubicBezTo>
                      <a:pt x="1930" y="2187"/>
                      <a:pt x="1871" y="2212"/>
                      <a:pt x="1828" y="2252"/>
                    </a:cubicBezTo>
                    <a:cubicBezTo>
                      <a:pt x="1808" y="2267"/>
                      <a:pt x="1784" y="2275"/>
                      <a:pt x="1758" y="2275"/>
                    </a:cubicBezTo>
                    <a:cubicBezTo>
                      <a:pt x="1696" y="2275"/>
                      <a:pt x="1644" y="2225"/>
                      <a:pt x="1644" y="2162"/>
                    </a:cubicBezTo>
                    <a:lnTo>
                      <a:pt x="1644" y="1644"/>
                    </a:lnTo>
                    <a:lnTo>
                      <a:pt x="2163" y="1644"/>
                    </a:lnTo>
                    <a:cubicBezTo>
                      <a:pt x="2165" y="1644"/>
                      <a:pt x="2168" y="1644"/>
                      <a:pt x="2170" y="1644"/>
                    </a:cubicBezTo>
                    <a:cubicBezTo>
                      <a:pt x="2178" y="1643"/>
                      <a:pt x="2187" y="1643"/>
                      <a:pt x="2195" y="1640"/>
                    </a:cubicBezTo>
                    <a:cubicBezTo>
                      <a:pt x="2200" y="1640"/>
                      <a:pt x="2203" y="1639"/>
                      <a:pt x="2207" y="1638"/>
                    </a:cubicBezTo>
                    <a:cubicBezTo>
                      <a:pt x="2214" y="1637"/>
                      <a:pt x="2221" y="1634"/>
                      <a:pt x="2227" y="1632"/>
                    </a:cubicBezTo>
                    <a:cubicBezTo>
                      <a:pt x="2231" y="1631"/>
                      <a:pt x="2235" y="1630"/>
                      <a:pt x="2238" y="1627"/>
                    </a:cubicBezTo>
                    <a:cubicBezTo>
                      <a:pt x="2248" y="1624"/>
                      <a:pt x="2255" y="1619"/>
                      <a:pt x="2263" y="1614"/>
                    </a:cubicBezTo>
                    <a:cubicBezTo>
                      <a:pt x="2275" y="1606"/>
                      <a:pt x="2287" y="1596"/>
                      <a:pt x="2297" y="1585"/>
                    </a:cubicBezTo>
                    <a:cubicBezTo>
                      <a:pt x="2299" y="1583"/>
                      <a:pt x="2301" y="1581"/>
                      <a:pt x="2304" y="1577"/>
                    </a:cubicBezTo>
                    <a:cubicBezTo>
                      <a:pt x="2310" y="1570"/>
                      <a:pt x="2316" y="1561"/>
                      <a:pt x="2321" y="1553"/>
                    </a:cubicBezTo>
                    <a:cubicBezTo>
                      <a:pt x="2323" y="1549"/>
                      <a:pt x="2325" y="1545"/>
                      <a:pt x="2328" y="1541"/>
                    </a:cubicBezTo>
                    <a:cubicBezTo>
                      <a:pt x="2331" y="1533"/>
                      <a:pt x="2335" y="1523"/>
                      <a:pt x="2339" y="1515"/>
                    </a:cubicBezTo>
                    <a:cubicBezTo>
                      <a:pt x="2340" y="1510"/>
                      <a:pt x="2341" y="1506"/>
                      <a:pt x="2342" y="1502"/>
                    </a:cubicBezTo>
                    <a:cubicBezTo>
                      <a:pt x="2344" y="1490"/>
                      <a:pt x="2347" y="1478"/>
                      <a:pt x="2347" y="1465"/>
                    </a:cubicBezTo>
                    <a:cubicBezTo>
                      <a:pt x="2347" y="1462"/>
                      <a:pt x="2347" y="1461"/>
                      <a:pt x="2347" y="1460"/>
                    </a:cubicBezTo>
                    <a:cubicBezTo>
                      <a:pt x="2347" y="1451"/>
                      <a:pt x="2346" y="1442"/>
                      <a:pt x="2346" y="1436"/>
                    </a:cubicBezTo>
                    <a:cubicBezTo>
                      <a:pt x="2346" y="1436"/>
                      <a:pt x="2346" y="1432"/>
                      <a:pt x="2344" y="1428"/>
                    </a:cubicBezTo>
                    <a:cubicBezTo>
                      <a:pt x="2342" y="1418"/>
                      <a:pt x="2341" y="1412"/>
                      <a:pt x="2340" y="1409"/>
                    </a:cubicBezTo>
                    <a:cubicBezTo>
                      <a:pt x="2340" y="1408"/>
                      <a:pt x="2339" y="1403"/>
                      <a:pt x="2336" y="1396"/>
                    </a:cubicBezTo>
                    <a:cubicBezTo>
                      <a:pt x="2333" y="1388"/>
                      <a:pt x="2330" y="1382"/>
                      <a:pt x="2329" y="1380"/>
                    </a:cubicBezTo>
                    <a:cubicBezTo>
                      <a:pt x="2328" y="1379"/>
                      <a:pt x="2327" y="1375"/>
                      <a:pt x="2323" y="1369"/>
                    </a:cubicBezTo>
                    <a:lnTo>
                      <a:pt x="2323" y="1368"/>
                    </a:lnTo>
                    <a:cubicBezTo>
                      <a:pt x="2322" y="1367"/>
                      <a:pt x="2322" y="1367"/>
                      <a:pt x="2322" y="1367"/>
                    </a:cubicBezTo>
                    <a:cubicBezTo>
                      <a:pt x="2318" y="1360"/>
                      <a:pt x="2315" y="1356"/>
                      <a:pt x="2312" y="1353"/>
                    </a:cubicBezTo>
                    <a:cubicBezTo>
                      <a:pt x="2312" y="1353"/>
                      <a:pt x="2310" y="1349"/>
                      <a:pt x="2306" y="1344"/>
                    </a:cubicBezTo>
                    <a:cubicBezTo>
                      <a:pt x="2306" y="1344"/>
                      <a:pt x="2306" y="1343"/>
                      <a:pt x="2305" y="1343"/>
                    </a:cubicBezTo>
                    <a:cubicBezTo>
                      <a:pt x="2305" y="1343"/>
                      <a:pt x="2305" y="1343"/>
                      <a:pt x="2305" y="1342"/>
                    </a:cubicBezTo>
                    <a:cubicBezTo>
                      <a:pt x="2305" y="1343"/>
                      <a:pt x="2304" y="1341"/>
                      <a:pt x="2301" y="1338"/>
                    </a:cubicBezTo>
                    <a:cubicBezTo>
                      <a:pt x="2275" y="1307"/>
                      <a:pt x="2258" y="1268"/>
                      <a:pt x="2258" y="1225"/>
                    </a:cubicBezTo>
                    <a:cubicBezTo>
                      <a:pt x="2258" y="1166"/>
                      <a:pt x="2287" y="1116"/>
                      <a:pt x="2330" y="1085"/>
                    </a:cubicBezTo>
                    <a:cubicBezTo>
                      <a:pt x="2359" y="1064"/>
                      <a:pt x="2394" y="1050"/>
                      <a:pt x="2432" y="1050"/>
                    </a:cubicBezTo>
                    <a:cubicBezTo>
                      <a:pt x="2527" y="1050"/>
                      <a:pt x="2605" y="1128"/>
                      <a:pt x="2605" y="1224"/>
                    </a:cubicBezTo>
                    <a:cubicBezTo>
                      <a:pt x="2605" y="1224"/>
                      <a:pt x="2605" y="1225"/>
                      <a:pt x="2605" y="1226"/>
                    </a:cubicBezTo>
                    <a:cubicBezTo>
                      <a:pt x="2605" y="1240"/>
                      <a:pt x="2603" y="1253"/>
                      <a:pt x="2599" y="1267"/>
                    </a:cubicBezTo>
                    <a:cubicBezTo>
                      <a:pt x="2599" y="1270"/>
                      <a:pt x="2598" y="1274"/>
                      <a:pt x="2597" y="1277"/>
                    </a:cubicBezTo>
                    <a:cubicBezTo>
                      <a:pt x="2592" y="1290"/>
                      <a:pt x="2587" y="1304"/>
                      <a:pt x="2580" y="1316"/>
                    </a:cubicBezTo>
                    <a:lnTo>
                      <a:pt x="2579" y="1317"/>
                    </a:lnTo>
                    <a:cubicBezTo>
                      <a:pt x="2576" y="1322"/>
                      <a:pt x="2573" y="1325"/>
                      <a:pt x="2569" y="1329"/>
                    </a:cubicBezTo>
                    <a:cubicBezTo>
                      <a:pt x="2568" y="1331"/>
                      <a:pt x="2566" y="1333"/>
                      <a:pt x="2563" y="1337"/>
                    </a:cubicBezTo>
                    <a:cubicBezTo>
                      <a:pt x="2561" y="1339"/>
                      <a:pt x="2560" y="1342"/>
                      <a:pt x="2560" y="1343"/>
                    </a:cubicBezTo>
                    <a:cubicBezTo>
                      <a:pt x="2554" y="1349"/>
                      <a:pt x="2551" y="1354"/>
                      <a:pt x="2551" y="1354"/>
                    </a:cubicBezTo>
                    <a:cubicBezTo>
                      <a:pt x="2549" y="1356"/>
                      <a:pt x="2546" y="1360"/>
                      <a:pt x="2544" y="1365"/>
                    </a:cubicBezTo>
                    <a:cubicBezTo>
                      <a:pt x="2543" y="1365"/>
                      <a:pt x="2543" y="1366"/>
                      <a:pt x="2542" y="1367"/>
                    </a:cubicBezTo>
                    <a:cubicBezTo>
                      <a:pt x="2538" y="1374"/>
                      <a:pt x="2536" y="1379"/>
                      <a:pt x="2535" y="1381"/>
                    </a:cubicBezTo>
                    <a:cubicBezTo>
                      <a:pt x="2535" y="1382"/>
                      <a:pt x="2532" y="1387"/>
                      <a:pt x="2531" y="1390"/>
                    </a:cubicBezTo>
                    <a:cubicBezTo>
                      <a:pt x="2530" y="1392"/>
                      <a:pt x="2529" y="1394"/>
                      <a:pt x="2527" y="1397"/>
                    </a:cubicBezTo>
                    <a:cubicBezTo>
                      <a:pt x="2526" y="1404"/>
                      <a:pt x="2525" y="1408"/>
                      <a:pt x="2524" y="1410"/>
                    </a:cubicBezTo>
                    <a:cubicBezTo>
                      <a:pt x="2524" y="1411"/>
                      <a:pt x="2524" y="1412"/>
                      <a:pt x="2524" y="1413"/>
                    </a:cubicBezTo>
                    <a:cubicBezTo>
                      <a:pt x="2523" y="1415"/>
                      <a:pt x="2523" y="1417"/>
                      <a:pt x="2521" y="1421"/>
                    </a:cubicBezTo>
                    <a:cubicBezTo>
                      <a:pt x="2520" y="1424"/>
                      <a:pt x="2520" y="1426"/>
                      <a:pt x="2519" y="1430"/>
                    </a:cubicBezTo>
                    <a:cubicBezTo>
                      <a:pt x="2519" y="1435"/>
                      <a:pt x="2519" y="1440"/>
                      <a:pt x="2518" y="1441"/>
                    </a:cubicBezTo>
                    <a:cubicBezTo>
                      <a:pt x="2518" y="1443"/>
                      <a:pt x="2517" y="1449"/>
                      <a:pt x="2517" y="1458"/>
                    </a:cubicBezTo>
                    <a:cubicBezTo>
                      <a:pt x="2517" y="1459"/>
                      <a:pt x="2517" y="1459"/>
                      <a:pt x="2517" y="1460"/>
                    </a:cubicBezTo>
                    <a:cubicBezTo>
                      <a:pt x="2517" y="1561"/>
                      <a:pt x="2599" y="1644"/>
                      <a:pt x="2701" y="1644"/>
                    </a:cubicBez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dirty="0"/>
              </a:p>
            </p:txBody>
          </p:sp>
        </p:grpSp>
      </p:grpSp>
      <p:grpSp>
        <p:nvGrpSpPr>
          <p:cNvPr id="15" name="Gruppieren 14"/>
          <p:cNvGrpSpPr/>
          <p:nvPr/>
        </p:nvGrpSpPr>
        <p:grpSpPr>
          <a:xfrm>
            <a:off x="8832305" y="1860079"/>
            <a:ext cx="2640558" cy="4062947"/>
            <a:chOff x="8832304" y="1860079"/>
            <a:chExt cx="2640558" cy="4062947"/>
          </a:xfrm>
        </p:grpSpPr>
        <p:grpSp>
          <p:nvGrpSpPr>
            <p:cNvPr id="51" name="Gruppieren 50"/>
            <p:cNvGrpSpPr/>
            <p:nvPr/>
          </p:nvGrpSpPr>
          <p:grpSpPr>
            <a:xfrm>
              <a:off x="9280041" y="3054924"/>
              <a:ext cx="459759" cy="2868102"/>
              <a:chOff x="7740980" y="2751893"/>
              <a:chExt cx="801849" cy="3882732"/>
            </a:xfrm>
          </p:grpSpPr>
          <p:sp>
            <p:nvSpPr>
              <p:cNvPr id="53" name="Rechteck 52"/>
              <p:cNvSpPr/>
              <p:nvPr/>
            </p:nvSpPr>
            <p:spPr bwMode="auto">
              <a:xfrm>
                <a:off x="7968208" y="6323718"/>
                <a:ext cx="530045" cy="310907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hteck 53"/>
              <p:cNvSpPr/>
              <p:nvPr/>
            </p:nvSpPr>
            <p:spPr bwMode="auto">
              <a:xfrm>
                <a:off x="7896200" y="5531630"/>
                <a:ext cx="530045" cy="310907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hteck 54"/>
              <p:cNvSpPr/>
              <p:nvPr/>
            </p:nvSpPr>
            <p:spPr bwMode="auto">
              <a:xfrm>
                <a:off x="7896200" y="4523518"/>
                <a:ext cx="530045" cy="310907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Rechteck 55"/>
              <p:cNvSpPr/>
              <p:nvPr/>
            </p:nvSpPr>
            <p:spPr bwMode="auto">
              <a:xfrm>
                <a:off x="7824192" y="3731430"/>
                <a:ext cx="530045" cy="215205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Rechteck 56"/>
              <p:cNvSpPr/>
              <p:nvPr/>
            </p:nvSpPr>
            <p:spPr bwMode="auto">
              <a:xfrm>
                <a:off x="7870211" y="2751893"/>
                <a:ext cx="530045" cy="215205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Gleichschenkliges Dreieck 57"/>
              <p:cNvSpPr/>
              <p:nvPr/>
            </p:nvSpPr>
            <p:spPr bwMode="auto">
              <a:xfrm>
                <a:off x="7740980" y="2751893"/>
                <a:ext cx="255803" cy="235498"/>
              </a:xfrm>
              <a:prstGeom prst="triangl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Rechteck 58"/>
              <p:cNvSpPr/>
              <p:nvPr/>
            </p:nvSpPr>
            <p:spPr bwMode="auto">
              <a:xfrm>
                <a:off x="7986441" y="4785431"/>
                <a:ext cx="556388" cy="368885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Rechteck 59"/>
              <p:cNvSpPr/>
              <p:nvPr/>
            </p:nvSpPr>
            <p:spPr bwMode="auto">
              <a:xfrm>
                <a:off x="7935944" y="3291911"/>
                <a:ext cx="530045" cy="240701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Rechteck 60"/>
              <p:cNvSpPr/>
              <p:nvPr/>
            </p:nvSpPr>
            <p:spPr bwMode="auto">
              <a:xfrm>
                <a:off x="7968208" y="6323718"/>
                <a:ext cx="530045" cy="310907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hteck 61"/>
              <p:cNvSpPr/>
              <p:nvPr/>
            </p:nvSpPr>
            <p:spPr bwMode="auto">
              <a:xfrm>
                <a:off x="7896200" y="5531630"/>
                <a:ext cx="530045" cy="310907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hteck 62"/>
              <p:cNvSpPr/>
              <p:nvPr/>
            </p:nvSpPr>
            <p:spPr bwMode="auto">
              <a:xfrm>
                <a:off x="7896200" y="4523518"/>
                <a:ext cx="530045" cy="310907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Rechteck 63"/>
              <p:cNvSpPr/>
              <p:nvPr/>
            </p:nvSpPr>
            <p:spPr bwMode="auto">
              <a:xfrm>
                <a:off x="7824192" y="3731430"/>
                <a:ext cx="530045" cy="215205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Rechteck 64"/>
              <p:cNvSpPr/>
              <p:nvPr/>
            </p:nvSpPr>
            <p:spPr bwMode="auto">
              <a:xfrm>
                <a:off x="7870211" y="2751893"/>
                <a:ext cx="530045" cy="215205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Gleichschenkliges Dreieck 65"/>
              <p:cNvSpPr/>
              <p:nvPr/>
            </p:nvSpPr>
            <p:spPr bwMode="auto">
              <a:xfrm>
                <a:off x="7740980" y="2751893"/>
                <a:ext cx="255803" cy="235498"/>
              </a:xfrm>
              <a:prstGeom prst="triangl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Rechteck 66"/>
              <p:cNvSpPr/>
              <p:nvPr/>
            </p:nvSpPr>
            <p:spPr bwMode="auto">
              <a:xfrm>
                <a:off x="7986441" y="4785431"/>
                <a:ext cx="556388" cy="368885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hteck 67"/>
              <p:cNvSpPr/>
              <p:nvPr/>
            </p:nvSpPr>
            <p:spPr bwMode="auto">
              <a:xfrm>
                <a:off x="7935944" y="3291911"/>
                <a:ext cx="530045" cy="240701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/>
              <a:lstStyle/>
              <a:p>
                <a:pPr algn="ctr" eaLnBrk="1" hangingPunct="1"/>
                <a:endParaRPr lang="de-DE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" name="Gruppieren 9"/>
            <p:cNvGrpSpPr/>
            <p:nvPr/>
          </p:nvGrpSpPr>
          <p:grpSpPr>
            <a:xfrm>
              <a:off x="8832304" y="1860079"/>
              <a:ext cx="2640558" cy="360000"/>
              <a:chOff x="8832304" y="1860079"/>
              <a:chExt cx="2640558" cy="360000"/>
            </a:xfrm>
          </p:grpSpPr>
          <p:grpSp>
            <p:nvGrpSpPr>
              <p:cNvPr id="85" name="Gruppieren 84"/>
              <p:cNvGrpSpPr/>
              <p:nvPr/>
            </p:nvGrpSpPr>
            <p:grpSpPr>
              <a:xfrm>
                <a:off x="8832304" y="1860079"/>
                <a:ext cx="2640558" cy="360000"/>
                <a:chOff x="426036" y="1860079"/>
                <a:chExt cx="2640558" cy="360000"/>
              </a:xfrm>
            </p:grpSpPr>
            <p:sp>
              <p:nvSpPr>
                <p:cNvPr id="98" name="AutoShape 3"/>
                <p:cNvSpPr>
                  <a:spLocks noChangeArrowheads="1"/>
                </p:cNvSpPr>
                <p:nvPr/>
              </p:nvSpPr>
              <p:spPr bwMode="auto">
                <a:xfrm>
                  <a:off x="504136" y="1886363"/>
                  <a:ext cx="2562458" cy="307433"/>
                </a:xfrm>
                <a:prstGeom prst="roundRect">
                  <a:avLst>
                    <a:gd name="adj" fmla="val 0"/>
                  </a:avLst>
                </a:prstGeom>
                <a:solidFill>
                  <a:srgbClr val="FF6600"/>
                </a:solidFill>
                <a:ln w="0" algn="ctr">
                  <a:noFill/>
                  <a:round/>
                </a:ln>
                <a:effectLst/>
              </p:spPr>
              <p:txBody>
                <a:bodyPr lIns="360000" tIns="0" rIns="36000" bIns="0" anchor="ctr"/>
                <a:lstStyle/>
                <a:p>
                  <a:pPr defTabSz="762000" eaLnBrk="0" hangingPunct="0">
                    <a:lnSpc>
                      <a:spcPct val="90000"/>
                    </a:lnSpc>
                    <a:buClr>
                      <a:srgbClr val="BFBFBF"/>
                    </a:buClr>
                  </a:pPr>
                  <a:r>
                    <a:rPr lang="ru-RU" altLang="zh-CN" b="1" dirty="0">
                      <a:solidFill>
                        <a:srgbClr val="FFFFFF"/>
                      </a:solidFill>
                      <a:latin typeface="Calibri" panose="020F0502020204030204" pitchFamily="34" charset="0"/>
                    </a:rPr>
                    <a:t>Изображение</a:t>
                  </a:r>
                  <a:endParaRPr lang="en-US" altLang="zh-CN" b="1" dirty="0">
                    <a:solidFill>
                      <a:srgbClr val="FFFFFF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99" name="AutoShape 3"/>
                <p:cNvSpPr>
                  <a:spLocks noChangeArrowheads="1"/>
                </p:cNvSpPr>
                <p:nvPr/>
              </p:nvSpPr>
              <p:spPr bwMode="auto">
                <a:xfrm>
                  <a:off x="426036" y="1860079"/>
                  <a:ext cx="360000" cy="360000"/>
                </a:xfrm>
                <a:prstGeom prst="ellipse">
                  <a:avLst/>
                </a:prstGeom>
                <a:solidFill>
                  <a:schemeClr val="bg1"/>
                </a:solidFill>
                <a:ln w="0" algn="ctr">
                  <a:solidFill>
                    <a:schemeClr val="accent1"/>
                  </a:solidFill>
                  <a:round/>
                </a:ln>
                <a:effectLst/>
              </p:spPr>
              <p:txBody>
                <a:bodyPr wrap="none" lIns="0" tIns="36000" rIns="0" bIns="36000" anchor="ctr">
                  <a:noAutofit/>
                </a:bodyPr>
                <a:lstStyle/>
                <a:p>
                  <a:pPr algn="ctr" defTabSz="762000" eaLnBrk="0" hangingPunct="0">
                    <a:lnSpc>
                      <a:spcPct val="90000"/>
                    </a:lnSpc>
                    <a:buClr>
                      <a:srgbClr val="BFBFBF"/>
                    </a:buClr>
                  </a:pPr>
                  <a:r>
                    <a:rPr lang="en-US" altLang="zh-CN" sz="1600" b="1" dirty="0">
                      <a:solidFill>
                        <a:schemeClr val="accent1"/>
                      </a:solidFill>
                      <a:latin typeface="Calibri" panose="020F0502020204030204" pitchFamily="34" charset="0"/>
                    </a:rPr>
                    <a:t> 4.</a:t>
                  </a:r>
                  <a:endParaRPr lang="en-US" altLang="zh-CN" sz="1600" b="1" dirty="0">
                    <a:solidFill>
                      <a:schemeClr val="accent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sp>
            <p:nvSpPr>
              <p:cNvPr id="101" name="Freeform 231"/>
              <p:cNvSpPr>
                <a:spLocks noChangeAspect="1" noEditPoints="1"/>
              </p:cNvSpPr>
              <p:nvPr/>
            </p:nvSpPr>
            <p:spPr bwMode="auto">
              <a:xfrm>
                <a:off x="11157168" y="1905079"/>
                <a:ext cx="284465" cy="270000"/>
              </a:xfrm>
              <a:custGeom>
                <a:avLst/>
                <a:gdLst>
                  <a:gd name="T0" fmla="*/ 140 w 164"/>
                  <a:gd name="T1" fmla="*/ 51 h 155"/>
                  <a:gd name="T2" fmla="*/ 124 w 164"/>
                  <a:gd name="T3" fmla="*/ 5 h 155"/>
                  <a:gd name="T4" fmla="*/ 116 w 164"/>
                  <a:gd name="T5" fmla="*/ 1 h 155"/>
                  <a:gd name="T6" fmla="*/ 5 w 164"/>
                  <a:gd name="T7" fmla="*/ 41 h 155"/>
                  <a:gd name="T8" fmla="*/ 1 w 164"/>
                  <a:gd name="T9" fmla="*/ 50 h 155"/>
                  <a:gd name="T10" fmla="*/ 19 w 164"/>
                  <a:gd name="T11" fmla="*/ 98 h 155"/>
                  <a:gd name="T12" fmla="*/ 19 w 164"/>
                  <a:gd name="T13" fmla="*/ 72 h 155"/>
                  <a:gd name="T14" fmla="*/ 40 w 164"/>
                  <a:gd name="T15" fmla="*/ 51 h 155"/>
                  <a:gd name="T16" fmla="*/ 69 w 164"/>
                  <a:gd name="T17" fmla="*/ 51 h 155"/>
                  <a:gd name="T18" fmla="*/ 104 w 164"/>
                  <a:gd name="T19" fmla="*/ 26 h 155"/>
                  <a:gd name="T20" fmla="*/ 124 w 164"/>
                  <a:gd name="T21" fmla="*/ 51 h 155"/>
                  <a:gd name="T22" fmla="*/ 140 w 164"/>
                  <a:gd name="T23" fmla="*/ 51 h 155"/>
                  <a:gd name="T24" fmla="*/ 158 w 164"/>
                  <a:gd name="T25" fmla="*/ 66 h 155"/>
                  <a:gd name="T26" fmla="*/ 40 w 164"/>
                  <a:gd name="T27" fmla="*/ 66 h 155"/>
                  <a:gd name="T28" fmla="*/ 33 w 164"/>
                  <a:gd name="T29" fmla="*/ 72 h 155"/>
                  <a:gd name="T30" fmla="*/ 33 w 164"/>
                  <a:gd name="T31" fmla="*/ 149 h 155"/>
                  <a:gd name="T32" fmla="*/ 40 w 164"/>
                  <a:gd name="T33" fmla="*/ 155 h 155"/>
                  <a:gd name="T34" fmla="*/ 158 w 164"/>
                  <a:gd name="T35" fmla="*/ 155 h 155"/>
                  <a:gd name="T36" fmla="*/ 164 w 164"/>
                  <a:gd name="T37" fmla="*/ 149 h 155"/>
                  <a:gd name="T38" fmla="*/ 164 w 164"/>
                  <a:gd name="T39" fmla="*/ 72 h 155"/>
                  <a:gd name="T40" fmla="*/ 158 w 164"/>
                  <a:gd name="T41" fmla="*/ 66 h 155"/>
                  <a:gd name="T42" fmla="*/ 149 w 164"/>
                  <a:gd name="T43" fmla="*/ 139 h 155"/>
                  <a:gd name="T44" fmla="*/ 51 w 164"/>
                  <a:gd name="T45" fmla="*/ 139 h 155"/>
                  <a:gd name="T46" fmla="*/ 51 w 164"/>
                  <a:gd name="T47" fmla="*/ 125 h 155"/>
                  <a:gd name="T48" fmla="*/ 66 w 164"/>
                  <a:gd name="T49" fmla="*/ 90 h 155"/>
                  <a:gd name="T50" fmla="*/ 88 w 164"/>
                  <a:gd name="T51" fmla="*/ 118 h 155"/>
                  <a:gd name="T52" fmla="*/ 110 w 164"/>
                  <a:gd name="T53" fmla="*/ 96 h 155"/>
                  <a:gd name="T54" fmla="*/ 137 w 164"/>
                  <a:gd name="T55" fmla="*/ 87 h 155"/>
                  <a:gd name="T56" fmla="*/ 149 w 164"/>
                  <a:gd name="T57" fmla="*/ 113 h 155"/>
                  <a:gd name="T58" fmla="*/ 149 w 164"/>
                  <a:gd name="T59" fmla="*/ 139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64" h="155">
                    <a:moveTo>
                      <a:pt x="140" y="51"/>
                    </a:moveTo>
                    <a:cubicBezTo>
                      <a:pt x="124" y="5"/>
                      <a:pt x="124" y="5"/>
                      <a:pt x="124" y="5"/>
                    </a:cubicBezTo>
                    <a:cubicBezTo>
                      <a:pt x="123" y="1"/>
                      <a:pt x="119" y="0"/>
                      <a:pt x="116" y="1"/>
                    </a:cubicBezTo>
                    <a:cubicBezTo>
                      <a:pt x="5" y="41"/>
                      <a:pt x="5" y="41"/>
                      <a:pt x="5" y="41"/>
                    </a:cubicBezTo>
                    <a:cubicBezTo>
                      <a:pt x="2" y="42"/>
                      <a:pt x="0" y="46"/>
                      <a:pt x="1" y="50"/>
                    </a:cubicBezTo>
                    <a:cubicBezTo>
                      <a:pt x="19" y="98"/>
                      <a:pt x="19" y="98"/>
                      <a:pt x="19" y="98"/>
                    </a:cubicBezTo>
                    <a:cubicBezTo>
                      <a:pt x="19" y="72"/>
                      <a:pt x="19" y="72"/>
                      <a:pt x="19" y="72"/>
                    </a:cubicBezTo>
                    <a:cubicBezTo>
                      <a:pt x="19" y="60"/>
                      <a:pt x="28" y="51"/>
                      <a:pt x="40" y="51"/>
                    </a:cubicBezTo>
                    <a:cubicBezTo>
                      <a:pt x="69" y="51"/>
                      <a:pt x="69" y="51"/>
                      <a:pt x="69" y="51"/>
                    </a:cubicBezTo>
                    <a:cubicBezTo>
                      <a:pt x="104" y="26"/>
                      <a:pt x="104" y="26"/>
                      <a:pt x="104" y="26"/>
                    </a:cubicBezTo>
                    <a:cubicBezTo>
                      <a:pt x="124" y="51"/>
                      <a:pt x="124" y="51"/>
                      <a:pt x="124" y="51"/>
                    </a:cubicBezTo>
                    <a:lnTo>
                      <a:pt x="140" y="51"/>
                    </a:lnTo>
                    <a:close/>
                    <a:moveTo>
                      <a:pt x="158" y="66"/>
                    </a:moveTo>
                    <a:cubicBezTo>
                      <a:pt x="40" y="66"/>
                      <a:pt x="40" y="66"/>
                      <a:pt x="40" y="66"/>
                    </a:cubicBezTo>
                    <a:cubicBezTo>
                      <a:pt x="36" y="66"/>
                      <a:pt x="33" y="68"/>
                      <a:pt x="33" y="72"/>
                    </a:cubicBezTo>
                    <a:cubicBezTo>
                      <a:pt x="33" y="149"/>
                      <a:pt x="33" y="149"/>
                      <a:pt x="33" y="149"/>
                    </a:cubicBezTo>
                    <a:cubicBezTo>
                      <a:pt x="33" y="153"/>
                      <a:pt x="36" y="155"/>
                      <a:pt x="40" y="155"/>
                    </a:cubicBezTo>
                    <a:cubicBezTo>
                      <a:pt x="158" y="155"/>
                      <a:pt x="158" y="155"/>
                      <a:pt x="158" y="155"/>
                    </a:cubicBezTo>
                    <a:cubicBezTo>
                      <a:pt x="161" y="155"/>
                      <a:pt x="164" y="153"/>
                      <a:pt x="164" y="149"/>
                    </a:cubicBezTo>
                    <a:cubicBezTo>
                      <a:pt x="164" y="72"/>
                      <a:pt x="164" y="72"/>
                      <a:pt x="164" y="72"/>
                    </a:cubicBezTo>
                    <a:cubicBezTo>
                      <a:pt x="164" y="68"/>
                      <a:pt x="161" y="66"/>
                      <a:pt x="158" y="66"/>
                    </a:cubicBezTo>
                    <a:close/>
                    <a:moveTo>
                      <a:pt x="149" y="139"/>
                    </a:moveTo>
                    <a:cubicBezTo>
                      <a:pt x="51" y="139"/>
                      <a:pt x="51" y="139"/>
                      <a:pt x="51" y="139"/>
                    </a:cubicBezTo>
                    <a:cubicBezTo>
                      <a:pt x="51" y="125"/>
                      <a:pt x="51" y="125"/>
                      <a:pt x="51" y="125"/>
                    </a:cubicBezTo>
                    <a:cubicBezTo>
                      <a:pt x="66" y="90"/>
                      <a:pt x="66" y="90"/>
                      <a:pt x="66" y="90"/>
                    </a:cubicBezTo>
                    <a:cubicBezTo>
                      <a:pt x="88" y="118"/>
                      <a:pt x="88" y="118"/>
                      <a:pt x="88" y="118"/>
                    </a:cubicBezTo>
                    <a:cubicBezTo>
                      <a:pt x="110" y="96"/>
                      <a:pt x="110" y="96"/>
                      <a:pt x="110" y="96"/>
                    </a:cubicBezTo>
                    <a:cubicBezTo>
                      <a:pt x="137" y="87"/>
                      <a:pt x="137" y="87"/>
                      <a:pt x="137" y="87"/>
                    </a:cubicBezTo>
                    <a:cubicBezTo>
                      <a:pt x="149" y="113"/>
                      <a:pt x="149" y="113"/>
                      <a:pt x="149" y="113"/>
                    </a:cubicBezTo>
                    <a:lnTo>
                      <a:pt x="149" y="13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22" name="Рисунок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0403114">
            <a:off x="9296101" y="2737294"/>
            <a:ext cx="2236053" cy="2654259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99971" y="3862802"/>
            <a:ext cx="2259381" cy="2485318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984442" y="6315854"/>
            <a:ext cx="155145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00" dirty="0"/>
              <a:t>Старый дизайн</a:t>
            </a:r>
            <a:endParaRPr lang="en-US" sz="1500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67915" y="3919685"/>
            <a:ext cx="2895341" cy="2319963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5457867" y="6315854"/>
            <a:ext cx="146065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00" dirty="0"/>
              <a:t>Новый дизайн</a:t>
            </a:r>
            <a:endParaRPr lang="en-US" sz="1500" dirty="0"/>
          </a:p>
        </p:txBody>
      </p:sp>
      <p:sp>
        <p:nvSpPr>
          <p:cNvPr id="34" name="Rectangle 4"/>
          <p:cNvSpPr>
            <a:spLocks noChangeArrowheads="1"/>
          </p:cNvSpPr>
          <p:nvPr/>
        </p:nvSpPr>
        <p:spPr bwMode="auto">
          <a:xfrm>
            <a:off x="4206228" y="2429651"/>
            <a:ext cx="14815199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4216268" y="5344966"/>
            <a:ext cx="3193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accent1"/>
                </a:solidFill>
              </a:rPr>
              <a:t>=</a:t>
            </a:r>
            <a:endParaRPr lang="ru-RU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Folie" r:id="rId2" imgW="12700" imgH="12700" progId="TCLayout.ActiveDocument.1">
                  <p:embed/>
                </p:oleObj>
              </mc:Choice>
              <mc:Fallback>
                <p:oleObj name="think-cell Folie" r:id="rId2" imgW="12700" imgH="12700" progId="TCLayout.ActiveDocument.1">
                  <p:embed/>
                  <p:pic>
                    <p:nvPicPr>
                      <p:cNvPr id="0" name="Objekt 15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15937" y="908720"/>
            <a:ext cx="11196687" cy="677491"/>
          </a:xfrm>
        </p:spPr>
        <p:txBody>
          <a:bodyPr/>
          <a:lstStyle/>
          <a:p>
            <a:r>
              <a:rPr lang="ru-RU" dirty="0" err="1"/>
              <a:t>Даунлайты</a:t>
            </a:r>
            <a:r>
              <a:rPr lang="ru-RU" dirty="0"/>
              <a:t> </a:t>
            </a:r>
            <a:r>
              <a:rPr lang="en-US" dirty="0"/>
              <a:t>IP44 LEDVANCE</a:t>
            </a:r>
            <a:endParaRPr lang="en-US" dirty="0"/>
          </a:p>
        </p:txBody>
      </p:sp>
      <p:sp>
        <p:nvSpPr>
          <p:cNvPr id="14" name="Rectangle 1"/>
          <p:cNvSpPr>
            <a:spLocks noChangeArrowheads="1"/>
          </p:cNvSpPr>
          <p:nvPr/>
        </p:nvSpPr>
        <p:spPr bwMode="auto">
          <a:xfrm>
            <a:off x="2946400" y="1814513"/>
            <a:ext cx="12939490" cy="214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ru-RU"/>
          </a:p>
        </p:txBody>
      </p:sp>
      <p:sp>
        <p:nvSpPr>
          <p:cNvPr id="4" name="Titel 1"/>
          <p:cNvSpPr txBox="1"/>
          <p:nvPr/>
        </p:nvSpPr>
        <p:spPr bwMode="gray">
          <a:xfrm>
            <a:off x="497656" y="1527285"/>
            <a:ext cx="11196687" cy="67749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2400" b="1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Артикулы к заказу</a:t>
            </a:r>
            <a:endParaRPr lang="en-US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13031" y="1797266"/>
            <a:ext cx="1612983" cy="463574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66866" y="2823341"/>
            <a:ext cx="3206722" cy="2569464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445798">
            <a:off x="8669525" y="2801789"/>
            <a:ext cx="2375345" cy="2819603"/>
          </a:xfrm>
          <a:prstGeom prst="rect">
            <a:avLst/>
          </a:prstGeom>
        </p:spPr>
      </p:pic>
      <p:graphicFrame>
        <p:nvGraphicFramePr>
          <p:cNvPr id="12" name="Таблица 11"/>
          <p:cNvGraphicFramePr>
            <a:graphicFrameLocks noGrp="1"/>
          </p:cNvGraphicFramePr>
          <p:nvPr/>
        </p:nvGraphicFramePr>
        <p:xfrm>
          <a:off x="515937" y="2579054"/>
          <a:ext cx="3178875" cy="4036214"/>
        </p:xfrm>
        <a:graphic>
          <a:graphicData uri="http://schemas.openxmlformats.org/drawingml/2006/table">
            <a:tbl>
              <a:tblPr/>
              <a:tblGrid>
                <a:gridCol w="847531"/>
                <a:gridCol w="2331344"/>
              </a:tblGrid>
              <a:tr h="36829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AN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Наименование продукта</a:t>
                      </a:r>
                      <a:endParaRPr lang="ru-RU" sz="9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</a:tr>
              <a:tr h="15283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8075656611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8W 840 F IP44 RET RU  LEDV </a:t>
                      </a:r>
                      <a:endParaRPr lang="da-DK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5283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8075656635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8W 865 F IP44 RET RU  LEDV </a:t>
                      </a:r>
                      <a:endParaRPr lang="da-DK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5283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251214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12W 840 F IP44 RET RU  LEDV </a:t>
                      </a:r>
                      <a:endParaRPr lang="da-DK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5283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251238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12W 865 F IP44 RET RU  LEDV </a:t>
                      </a:r>
                      <a:endParaRPr lang="da-DK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5283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8075656659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13W 840 F IP44 RET RU  LEDV </a:t>
                      </a:r>
                      <a:endParaRPr lang="da-DK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5283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807565667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13W 865 F IP44 RET RU  LEDV </a:t>
                      </a:r>
                      <a:endParaRPr lang="da-DK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5283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25125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15W 840 F IP44 RET RU  LEDV </a:t>
                      </a:r>
                      <a:endParaRPr lang="da-DK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5283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251276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15W 865 F IP44 RET RU  LEDV </a:t>
                      </a:r>
                      <a:endParaRPr lang="da-DK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5283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8075656697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18W 840 F IP44 RET RU  LEDV </a:t>
                      </a:r>
                      <a:endParaRPr lang="da-DK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5283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807565671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18W 865 F IP44 RET RU  LEDV </a:t>
                      </a:r>
                      <a:endParaRPr lang="da-DK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5283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8075656734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24W 840 F IP44 RET RU  LEDV </a:t>
                      </a:r>
                      <a:endParaRPr lang="da-DK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5283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8075656758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24W 865 F IP44 RET RU  LEDV </a:t>
                      </a:r>
                      <a:endParaRPr lang="da-DK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5283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8075644199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8W 840 F IP44 RU LEDV  </a:t>
                      </a:r>
                      <a:endParaRPr lang="pl-PL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5283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807564421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8W 865 F IP44 RU LEDV  </a:t>
                      </a:r>
                      <a:endParaRPr lang="pl-PL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5283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25129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12W 840 F IP44 RU LEDV  </a:t>
                      </a:r>
                      <a:endParaRPr lang="pl-PL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5283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25131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12W 865 F IP44 RU LEDV  </a:t>
                      </a:r>
                      <a:endParaRPr lang="pl-PL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5283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8075644236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13W 840 F IP44 RU LEDV  </a:t>
                      </a:r>
                      <a:endParaRPr lang="pl-PL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5283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807564425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13W 865 F IP44 RU LEDV  </a:t>
                      </a:r>
                      <a:endParaRPr lang="pl-PL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5283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251337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15W 840 F IP44 RU LEDV  </a:t>
                      </a:r>
                      <a:endParaRPr lang="pl-PL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5283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9854251351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15W 865 F IP44 RU LEDV  </a:t>
                      </a:r>
                      <a:endParaRPr lang="pl-PL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5283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8075644274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18W 840 F IP44 RU LEDV  </a:t>
                      </a:r>
                      <a:endParaRPr lang="pl-PL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5283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8075644298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18W 865 F IP44 RU LEDV  </a:t>
                      </a:r>
                      <a:endParaRPr lang="pl-PL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5283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8075644311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24W 840 F IP44 RU LEDV  </a:t>
                      </a:r>
                      <a:endParaRPr lang="pl-PL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5283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8075644335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ECO 24W 865 F IP44 RU LEDV  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42" marR="7642" marT="764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MdeSoRDCTh.FpyVirY3z5A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THINKCELLSHAPEDONOTDELETE" val="tfpTy5MX7RUe0iA.9jXEiTA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tCoJB.e8HSViX5Q0s_U91IQ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qcrfvCyrQPy_Ksg5oZoBlw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tEJfEhO7uQJ6u1epakZAFhg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NjYvEipYRlartBXnPbYg_g"/>
</p:tagLst>
</file>

<file path=ppt/tags/tag20.xml><?xml version="1.0" encoding="utf-8"?>
<p:tagLst xmlns:p="http://schemas.openxmlformats.org/presentationml/2006/main">
  <p:tag name="THINKCELLSHAPEDONOTDELETE" val="tkxSBxD_oTdKpquzhlUYsTw"/>
</p:tagLst>
</file>

<file path=ppt/tags/tag21.xml><?xml version="1.0" encoding="utf-8"?>
<p:tagLst xmlns:p="http://schemas.openxmlformats.org/presentationml/2006/main">
  <p:tag name="THINKCELLSHAPEDONOTDELETE" val="thinkcellActiveDocDoNotDelete"/>
</p:tagLst>
</file>

<file path=ppt/tags/tag22.xml><?xml version="1.0" encoding="utf-8"?>
<p:tagLst xmlns:p="http://schemas.openxmlformats.org/presentationml/2006/main">
  <p:tag name="THINKCELLSHAPEDONOTDELETE" val="tdGY5k_6XQo.oP0ef1pb0pw"/>
</p:tagLst>
</file>

<file path=ppt/tags/tag23.xml><?xml version="1.0" encoding="utf-8"?>
<p:tagLst xmlns:p="http://schemas.openxmlformats.org/presentationml/2006/main">
  <p:tag name="THINKCELLSHAPEDONOTDELETE" val="thinkcellActiveDocDoNotDelete"/>
</p:tagLst>
</file>

<file path=ppt/tags/tag24.xml><?xml version="1.0" encoding="utf-8"?>
<p:tagLst xmlns:p="http://schemas.openxmlformats.org/presentationml/2006/main">
  <p:tag name="THINKCELLSHAPEDONOTDELETE" val="tRDIbu8mNSRmtpYiIyypg7g"/>
</p:tagLst>
</file>

<file path=ppt/tags/tag25.xml><?xml version="1.0" encoding="utf-8"?>
<p:tagLst xmlns:p="http://schemas.openxmlformats.org/presentationml/2006/main">
  <p:tag name="THINKCELLSHAPEDONOTDELETE" val="thinkcellActiveDocDoNotDelete"/>
</p:tagLst>
</file>

<file path=ppt/tags/tag26.xml><?xml version="1.0" encoding="utf-8"?>
<p:tagLst xmlns:p="http://schemas.openxmlformats.org/presentationml/2006/main">
  <p:tag name="THINKCELLSHAPEDONOTDELETE" val="t2z13HgEsR4yN3qNS0pVKtw"/>
</p:tagLst>
</file>

<file path=ppt/tags/tag27.xml><?xml version="1.0" encoding="utf-8"?>
<p:tagLst xmlns:p="http://schemas.openxmlformats.org/presentationml/2006/main">
  <p:tag name="THINKCELLSHAPEDONOTDELETE" val="thinkcellActiveDocDoNotDelete"/>
</p:tagLst>
</file>

<file path=ppt/tags/tag28.xml><?xml version="1.0" encoding="utf-8"?>
<p:tagLst xmlns:p="http://schemas.openxmlformats.org/presentationml/2006/main">
  <p:tag name="THINKCELLSHAPEDONOTDELETE" val="tvIBoiCVTSVeiWE1KV9C0ag"/>
</p:tagLst>
</file>

<file path=ppt/tags/tag29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t_75GDBl1Qg.LicFT.Tltow"/>
</p:tagLst>
</file>

<file path=ppt/tags/tag31.xml><?xml version="1.0" encoding="utf-8"?>
<p:tagLst xmlns:p="http://schemas.openxmlformats.org/presentationml/2006/main">
  <p:tag name="EE4P_MASTERWIZARD" val="LEDVANCE_LOGO"/>
</p:tagLst>
</file>

<file path=ppt/tags/tag32.xml><?xml version="1.0" encoding="utf-8"?>
<p:tagLst xmlns:p="http://schemas.openxmlformats.org/presentationml/2006/main">
  <p:tag name="THINKCELLSHAPEDONOTDELETE" val="thinkcellActiveDocDoNotDelete"/>
</p:tagLst>
</file>

<file path=ppt/tags/tag33.xml><?xml version="1.0" encoding="utf-8"?>
<p:tagLst xmlns:p="http://schemas.openxmlformats.org/presentationml/2006/main">
  <p:tag name="THINKCELLSHAPEDONOTDELETE" val="t7pxtpl0BQGytLFVaoyJ9cg"/>
</p:tagLst>
</file>

<file path=ppt/tags/tag34.xml><?xml version="1.0" encoding="utf-8"?>
<p:tagLst xmlns:p="http://schemas.openxmlformats.org/presentationml/2006/main">
  <p:tag name="EE4P_MASTERWIZARD" val="LEDVANCE_LOGO"/>
</p:tagLst>
</file>

<file path=ppt/tags/tag35.xml><?xml version="1.0" encoding="utf-8"?>
<p:tagLst xmlns:p="http://schemas.openxmlformats.org/presentationml/2006/main">
  <p:tag name="THINKCELLSHAPEDONOTDELETE" val="thinkcellActiveDocDoNotDelete"/>
</p:tagLst>
</file>

<file path=ppt/tags/tag36.xml><?xml version="1.0" encoding="utf-8"?>
<p:tagLst xmlns:p="http://schemas.openxmlformats.org/presentationml/2006/main">
  <p:tag name="THINKCELLSHAPEDONOTDELETE" val="t_1SKXFk4QbqhlpvC0E7t.A"/>
</p:tagLst>
</file>

<file path=ppt/tags/tag37.xml><?xml version="1.0" encoding="utf-8"?>
<p:tagLst xmlns:p="http://schemas.openxmlformats.org/presentationml/2006/main">
  <p:tag name="THINKCELLSHAPEDONOTDELETE" val="thinkcellActiveDocDoNotDelete"/>
</p:tagLst>
</file>

<file path=ppt/tags/tag38.xml><?xml version="1.0" encoding="utf-8"?>
<p:tagLst xmlns:p="http://schemas.openxmlformats.org/presentationml/2006/main">
  <p:tag name="THINKCELLSHAPEDONOTDELETE" val="tV8RRgMqESgq4l9lwOXEUsA"/>
</p:tagLst>
</file>

<file path=ppt/tags/tag39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efCo4.jOQeKjjU29iDakCw"/>
</p:tagLst>
</file>

<file path=ppt/tags/tag40.xml><?xml version="1.0" encoding="utf-8"?>
<p:tagLst xmlns:p="http://schemas.openxmlformats.org/presentationml/2006/main">
  <p:tag name="THINKCELLSHAPEDONOTDELETE" val="thinkcellActiveDocDoNotDelete"/>
</p:tagLst>
</file>

<file path=ppt/tags/tag41.xml><?xml version="1.0" encoding="utf-8"?>
<p:tagLst xmlns:p="http://schemas.openxmlformats.org/presentationml/2006/main">
  <p:tag name="THINKCELLSHAPEDONOTDELETE" val="thinkcellActiveDocDoNotDelete"/>
</p:tagLst>
</file>

<file path=ppt/tags/tag42.xml><?xml version="1.0" encoding="utf-8"?>
<p:tagLst xmlns:p="http://schemas.openxmlformats.org/presentationml/2006/main">
  <p:tag name="THINKCELLSHAPEDONOTDELETE" val="tYRgmZ3WgSPW6bAB6yOVogw"/>
</p:tagLst>
</file>

<file path=ppt/tags/tag43.xml><?xml version="1.0" encoding="utf-8"?>
<p:tagLst xmlns:p="http://schemas.openxmlformats.org/presentationml/2006/main">
  <p:tag name="THINKCELLSHAPEDONOTDELETE" val="thinkcellActiveDocDoNotDelete"/>
</p:tagLst>
</file>

<file path=ppt/tags/tag44.xml><?xml version="1.0" encoding="utf-8"?>
<p:tagLst xmlns:p="http://schemas.openxmlformats.org/presentationml/2006/main">
  <p:tag name="THINKCELLSHAPEDONOTDELETE" val="thinkcellActiveDocDoNotDelete"/>
</p:tagLst>
</file>

<file path=ppt/tags/tag45.xml><?xml version="1.0" encoding="utf-8"?>
<p:tagLst xmlns:p="http://schemas.openxmlformats.org/presentationml/2006/main">
  <p:tag name="THINKCELLSHAPEDONOTDELETE" val="thinkcellActiveDocDoNotDelete"/>
</p:tagLst>
</file>

<file path=ppt/tags/tag46.xml><?xml version="1.0" encoding="utf-8"?>
<p:tagLst xmlns:p="http://schemas.openxmlformats.org/presentationml/2006/main">
  <p:tag name="THINKCELLSHAPEDONOTDELETE" val="thinkcellActiveDocDoNotDelete"/>
</p:tagLst>
</file>

<file path=ppt/tags/tag47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BMbcyLT4SP6K3QGT3wzs2g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CC93X01SQ7usGa8NWeQzew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1">
  <a:themeElements>
    <a:clrScheme name="Custom 6">
      <a:dk1>
        <a:sysClr val="windowText" lastClr="000000"/>
      </a:dk1>
      <a:lt1>
        <a:sysClr val="window" lastClr="FFFFFF"/>
      </a:lt1>
      <a:dk2>
        <a:srgbClr val="6F6F6F"/>
      </a:dk2>
      <a:lt2>
        <a:srgbClr val="E6E6E6"/>
      </a:lt2>
      <a:accent1>
        <a:srgbClr val="FF6600"/>
      </a:accent1>
      <a:accent2>
        <a:srgbClr val="9C9E9F"/>
      </a:accent2>
      <a:accent3>
        <a:srgbClr val="CBCBCB"/>
      </a:accent3>
      <a:accent4>
        <a:srgbClr val="FF8555"/>
      </a:accent4>
      <a:accent5>
        <a:srgbClr val="FFA37E"/>
      </a:accent5>
      <a:accent6>
        <a:srgbClr val="FFC2A9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2"/>
          </a:solidFill>
        </a:ln>
      </a:spPr>
      <a:bodyPr wrap="square" rtlCol="0" anchor="ctr">
        <a:noAutofit/>
      </a:bodyPr>
      <a:lstStyle>
        <a:defPPr algn="ctr">
          <a:defRPr sz="1600" dirty="0" err="1" smtClean="0"/>
        </a:defPPr>
      </a:lstStyle>
    </a:spDef>
    <a:lnDef>
      <a:spPr bwMode="gray"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custClrLst>
    <a:custClr name="Green">
      <a:srgbClr val="9ECC14"/>
    </a:custClr>
    <a:custClr name="Turquoise">
      <a:srgbClr val="00A9B2"/>
    </a:custClr>
    <a:custClr name="Purple">
      <a:srgbClr val="5D305B"/>
    </a:custClr>
    <a:custClr name="Yellow">
      <a:srgbClr val="FFAB00"/>
    </a:custClr>
    <a:custClr name="Blue">
      <a:srgbClr val="91BED4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Стандартная">
      <a:majorFont>
        <a:latin typeface="Aptos Display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CFA6EBFDB9448640BF1F9A362CF66F17" ma:contentTypeVersion="1" ma:contentTypeDescription="Создание документа." ma:contentTypeScope="" ma:versionID="ee4490278c00f8d52a3a9d5aebf9139c">
  <xsd:schema xmlns:xsd="http://www.w3.org/2001/XMLSchema" xmlns:xs="http://www.w3.org/2001/XMLSchema" xmlns:p="http://schemas.microsoft.com/office/2006/metadata/properties" xmlns:ns2="84b75b5b-205a-4e3e-ae01-f59ac1dc8abe" targetNamespace="http://schemas.microsoft.com/office/2006/metadata/properties" ma:root="true" ma:fieldsID="d92db3e2363b8775cc3c2b0567804434" ns2:_="">
    <xsd:import namespace="84b75b5b-205a-4e3e-ae01-f59ac1dc8abe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b75b5b-205a-4e3e-ae01-f59ac1dc8ab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48.xml><?xml version="1.0" encoding="utf-8"?>
<ds:datastoreItem xmlns:ds="http://schemas.openxmlformats.org/officeDocument/2006/customXml" ds:itemID="{9B786004-7CA4-4EEB-93CB-6AAA8D446E4C}">
  <ds:schemaRefs/>
</ds:datastoreItem>
</file>

<file path=customXml/itemProps49.xml><?xml version="1.0" encoding="utf-8"?>
<ds:datastoreItem xmlns:ds="http://schemas.openxmlformats.org/officeDocument/2006/customXml" ds:itemID="{761A367A-E4A7-46EE-AE08-59DDDFA5267B}">
  <ds:schemaRefs/>
</ds:datastoreItem>
</file>

<file path=customXml/itemProps50.xml><?xml version="1.0" encoding="utf-8"?>
<ds:datastoreItem xmlns:ds="http://schemas.openxmlformats.org/officeDocument/2006/customXml" ds:itemID="{866588DA-CFF9-4949-AEB6-111949BB2506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501</Words>
  <Application>WPS Presentation</Application>
  <PresentationFormat>Широкоэкранный</PresentationFormat>
  <Paragraphs>238</Paragraphs>
  <Slides>5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6</vt:i4>
      </vt:variant>
      <vt:variant>
        <vt:lpstr>幻灯片标题</vt:lpstr>
      </vt:variant>
      <vt:variant>
        <vt:i4>5</vt:i4>
      </vt:variant>
    </vt:vector>
  </HeadingPairs>
  <TitlesOfParts>
    <vt:vector size="40" baseType="lpstr">
      <vt:lpstr>Arial</vt:lpstr>
      <vt:lpstr>SimSun</vt:lpstr>
      <vt:lpstr>Wingdings</vt:lpstr>
      <vt:lpstr>Calibri</vt:lpstr>
      <vt:lpstr>Microsoft YaHei</vt:lpstr>
      <vt:lpstr>Arial Unicode MS</vt:lpstr>
      <vt:lpstr>Aptos</vt:lpstr>
      <vt:lpstr>Segoe UI</vt:lpstr>
      <vt:lpstr>Тема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DOWNLIGHT LEDVANCE</vt:lpstr>
      <vt:lpstr>Даунлайты LEDVANCE DL IP20 </vt:lpstr>
      <vt:lpstr>Даунлайты LEDVANCE DL IP20 </vt:lpstr>
      <vt:lpstr>Даунлайты IP44 (полностью) – обновление классики ECO CLASS </vt:lpstr>
      <vt:lpstr>Даунлайты IP44 LEDVANC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DUCT CALL</dc:title>
  <dc:creator>Ustinov Alexandr</dc:creator>
  <cp:lastModifiedBy>User</cp:lastModifiedBy>
  <cp:revision>5</cp:revision>
  <dcterms:created xsi:type="dcterms:W3CDTF">2024-09-10T10:15:00Z</dcterms:created>
  <dcterms:modified xsi:type="dcterms:W3CDTF">2025-11-07T19:03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FA6EBFDB9448640BF1F9A362CF66F17</vt:lpwstr>
  </property>
  <property fmtid="{D5CDD505-2E9C-101B-9397-08002B2CF9AE}" pid="3" name="ICV">
    <vt:lpwstr>E9A5DB03E7F5427C84C107A7711DB4AA_13</vt:lpwstr>
  </property>
  <property fmtid="{D5CDD505-2E9C-101B-9397-08002B2CF9AE}" pid="4" name="KSOProductBuildVer">
    <vt:lpwstr>1049-12.2.0.23155</vt:lpwstr>
  </property>
</Properties>
</file>